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5.xml" ContentType="application/vnd.openxmlformats-officedocument.themeOverr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heme/themeOverride6.xml" ContentType="application/vnd.openxmlformats-officedocument.themeOverr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heme/themeOverride7.xml" ContentType="application/vnd.openxmlformats-officedocument.themeOverr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heme/themeOverride8.xml" ContentType="application/vnd.openxmlformats-officedocument.themeOverr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heme/themeOverride15.xml" ContentType="application/vnd.openxmlformats-officedocument.themeOverr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heme/themeOverride16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heme/themeOverride17.xml" ContentType="application/vnd.openxmlformats-officedocument.themeOverride+xml"/>
  <Override PartName="/ppt/theme/themeOverride18.xml" ContentType="application/vnd.openxmlformats-officedocument.themeOverr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heme/themeOverride19.xml" ContentType="application/vnd.openxmlformats-officedocument.themeOverr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heme/themeOverride20.xml" ContentType="application/vnd.openxmlformats-officedocument.themeOverr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4" r:id="rId5"/>
    <p:sldMasterId id="2147485132" r:id="rId6"/>
    <p:sldMasterId id="2147485144" r:id="rId7"/>
    <p:sldMasterId id="2147486404" r:id="rId8"/>
    <p:sldMasterId id="2147486488" r:id="rId9"/>
    <p:sldMasterId id="2147486500" r:id="rId10"/>
  </p:sldMasterIdLst>
  <p:notesMasterIdLst>
    <p:notesMasterId r:id="rId36"/>
  </p:notesMasterIdLst>
  <p:handoutMasterIdLst>
    <p:handoutMasterId r:id="rId37"/>
  </p:handoutMasterIdLst>
  <p:sldIdLst>
    <p:sldId id="279" r:id="rId11"/>
    <p:sldId id="685" r:id="rId12"/>
    <p:sldId id="683" r:id="rId13"/>
    <p:sldId id="695" r:id="rId14"/>
    <p:sldId id="684" r:id="rId15"/>
    <p:sldId id="630" r:id="rId16"/>
    <p:sldId id="677" r:id="rId17"/>
    <p:sldId id="686" r:id="rId18"/>
    <p:sldId id="687" r:id="rId19"/>
    <p:sldId id="688" r:id="rId20"/>
    <p:sldId id="689" r:id="rId21"/>
    <p:sldId id="597" r:id="rId22"/>
    <p:sldId id="690" r:id="rId23"/>
    <p:sldId id="691" r:id="rId24"/>
    <p:sldId id="693" r:id="rId25"/>
    <p:sldId id="694" r:id="rId26"/>
    <p:sldId id="634" r:id="rId27"/>
    <p:sldId id="617" r:id="rId28"/>
    <p:sldId id="697" r:id="rId29"/>
    <p:sldId id="705" r:id="rId30"/>
    <p:sldId id="704" r:id="rId31"/>
    <p:sldId id="701" r:id="rId32"/>
    <p:sldId id="706" r:id="rId33"/>
    <p:sldId id="703" r:id="rId34"/>
    <p:sldId id="593" r:id="rId35"/>
  </p:sldIdLst>
  <p:sldSz cx="9144000" cy="6858000" type="screen4x3"/>
  <p:notesSz cx="7010400" cy="9296400"/>
  <p:custDataLst>
    <p:tags r:id="rId38"/>
  </p:custDataLst>
  <p:defaultTextStyle>
    <a:defPPr>
      <a:defRPr lang="es-C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6666FF"/>
    <a:srgbClr val="70D6B4"/>
    <a:srgbClr val="2D9B76"/>
    <a:srgbClr val="95DFDF"/>
    <a:srgbClr val="FF7C80"/>
    <a:srgbClr val="66FFCC"/>
    <a:srgbClr val="99FFCC"/>
    <a:srgbClr val="FFCCCC"/>
    <a:srgbClr val="C0C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2DE63D5-997A-4646-A377-4702673A728D}" styleName="Estilo claro 2 - Acento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Estilo claro 2 - Acento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D083AE6-46FA-4A59-8FB0-9F97EB10719F}" styleName="Estilo claro 3 - Acento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D27102A9-8310-4765-A935-A1911B00CA55}" styleName="Estilo claro 1 - Acento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C7853C-536D-4A76-A0AE-DD22124D55A5}" styleName="Estilo temático 1 - Énfasis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A111915-BE36-4E01-A7E5-04B1672EAD32}" styleName="Estilo claro 2 - Acento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4545" autoAdjust="0"/>
    <p:restoredTop sz="94602" autoAdjust="0"/>
  </p:normalViewPr>
  <p:slideViewPr>
    <p:cSldViewPr showGuides="1">
      <p:cViewPr>
        <p:scale>
          <a:sx n="75" d="100"/>
          <a:sy n="75" d="100"/>
        </p:scale>
        <p:origin x="-1104" y="-26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405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presProps" Target="presProps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tags" Target="tags/tag1.xml"/></Relationships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36.png"/></Relationships>
</file>

<file path=ppt/diagrams/_rels/data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image" Target="../media/image38.png"/></Relationships>
</file>

<file path=ppt/diagrams/_rels/data4.xml.rels><?xml version="1.0" encoding="UTF-8" standalone="yes"?>
<Relationships xmlns="http://schemas.openxmlformats.org/package/2006/relationships"><Relationship Id="rId1" Type="http://schemas.openxmlformats.org/officeDocument/2006/relationships/image" Target="../media/image51.png"/></Relationships>
</file>

<file path=ppt/diagram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36.png"/></Relationships>
</file>

<file path=ppt/diagrams/_rels/drawing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image" Target="../media/image38.png"/></Relationships>
</file>

<file path=ppt/diagrams/_rels/drawing4.xml.rels><?xml version="1.0" encoding="UTF-8" standalone="yes"?>
<Relationships xmlns="http://schemas.openxmlformats.org/package/2006/relationships"><Relationship Id="rId1" Type="http://schemas.openxmlformats.org/officeDocument/2006/relationships/image" Target="../media/image5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A613E7B-485B-490C-91B3-F1246DA546BA}" type="doc">
      <dgm:prSet loTypeId="urn:microsoft.com/office/officeart/2005/8/layout/radial6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L"/>
        </a:p>
      </dgm:t>
    </dgm:pt>
    <dgm:pt modelId="{6A43E78F-A167-4450-A593-AA7888A0C2C8}">
      <dgm:prSet phldrT="[Texto]" custT="1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>
        <a:noFill/>
        <a:ln>
          <a:noFill/>
        </a:ln>
        <a:scene3d>
          <a:camera prst="orthographicFront"/>
          <a:lightRig rig="threePt" dir="t"/>
        </a:scene3d>
        <a:sp3d>
          <a:bevelT/>
        </a:sp3d>
      </dgm:spPr>
      <dgm:t>
        <a:bodyPr lIns="0" tIns="0" rIns="0" bIns="0"/>
        <a:lstStyle/>
        <a:p>
          <a:r>
            <a:rPr lang="es-CL" sz="2800" b="1" dirty="0" smtClean="0">
              <a:solidFill>
                <a:srgbClr val="002060"/>
              </a:solidFill>
              <a:latin typeface="Microsoft PhagsPa" pitchFamily="34" charset="0"/>
            </a:rPr>
            <a:t>Política de  Participación</a:t>
          </a:r>
        </a:p>
        <a:p>
          <a:r>
            <a:rPr lang="es-CL" sz="2800" b="1" dirty="0" smtClean="0">
              <a:solidFill>
                <a:srgbClr val="002060"/>
              </a:solidFill>
              <a:latin typeface="Microsoft PhagsPa" pitchFamily="34" charset="0"/>
            </a:rPr>
            <a:t>CPLT</a:t>
          </a:r>
          <a:endParaRPr lang="es-CL" sz="2800" b="1" dirty="0">
            <a:solidFill>
              <a:srgbClr val="002060"/>
            </a:solidFill>
            <a:latin typeface="Microsoft PhagsPa" pitchFamily="34" charset="0"/>
          </a:endParaRPr>
        </a:p>
      </dgm:t>
    </dgm:pt>
    <dgm:pt modelId="{C8FE198E-FAEF-404D-AF3D-369996CB9723}" type="parTrans" cxnId="{EF8F6EAB-B285-45E0-88A3-3DA3A8D1BE2E}">
      <dgm:prSet/>
      <dgm:spPr/>
      <dgm:t>
        <a:bodyPr/>
        <a:lstStyle/>
        <a:p>
          <a:endParaRPr lang="es-CL" sz="2000">
            <a:solidFill>
              <a:schemeClr val="tx1"/>
            </a:solidFill>
          </a:endParaRPr>
        </a:p>
      </dgm:t>
    </dgm:pt>
    <dgm:pt modelId="{BD087E45-0978-4A12-BEBA-1B09ADED30A9}" type="sibTrans" cxnId="{EF8F6EAB-B285-45E0-88A3-3DA3A8D1BE2E}">
      <dgm:prSet/>
      <dgm:spPr/>
      <dgm:t>
        <a:bodyPr/>
        <a:lstStyle/>
        <a:p>
          <a:endParaRPr lang="es-CL" sz="2000">
            <a:solidFill>
              <a:schemeClr val="tx1"/>
            </a:solidFill>
          </a:endParaRPr>
        </a:p>
      </dgm:t>
    </dgm:pt>
    <dgm:pt modelId="{A7250F53-AECD-4B62-872F-4DEA1CFF78C6}">
      <dgm:prSet phldrT="[Texto]" custT="1"/>
      <dgm:spPr/>
      <dgm:t>
        <a:bodyPr/>
        <a:lstStyle/>
        <a:p>
          <a:r>
            <a:rPr lang="es-CL" sz="1800" b="1" dirty="0" smtClean="0">
              <a:solidFill>
                <a:srgbClr val="002060"/>
              </a:solidFill>
              <a:latin typeface="Microsoft PhagsPa" pitchFamily="34" charset="0"/>
            </a:rPr>
            <a:t>Ideas.Info</a:t>
          </a:r>
          <a:endParaRPr lang="es-CL" sz="1800" b="1" dirty="0">
            <a:solidFill>
              <a:srgbClr val="002060"/>
            </a:solidFill>
            <a:latin typeface="Microsoft PhagsPa" pitchFamily="34" charset="0"/>
          </a:endParaRPr>
        </a:p>
      </dgm:t>
    </dgm:pt>
    <dgm:pt modelId="{AAC84DA0-3239-4809-B48F-87DACE716B1D}" type="parTrans" cxnId="{26A67E30-81DE-4EE2-9F56-62E65DBEB3C5}">
      <dgm:prSet/>
      <dgm:spPr/>
      <dgm:t>
        <a:bodyPr/>
        <a:lstStyle/>
        <a:p>
          <a:endParaRPr lang="es-CL" sz="2000">
            <a:solidFill>
              <a:schemeClr val="tx1"/>
            </a:solidFill>
          </a:endParaRPr>
        </a:p>
      </dgm:t>
    </dgm:pt>
    <dgm:pt modelId="{793048A9-0D87-40BB-A8BC-93FC9758DFD8}" type="sibTrans" cxnId="{26A67E30-81DE-4EE2-9F56-62E65DBEB3C5}">
      <dgm:prSet/>
      <dgm:spPr/>
      <dgm:t>
        <a:bodyPr/>
        <a:lstStyle/>
        <a:p>
          <a:endParaRPr lang="es-CL" sz="2400" dirty="0">
            <a:solidFill>
              <a:schemeClr val="tx1"/>
            </a:solidFill>
          </a:endParaRPr>
        </a:p>
      </dgm:t>
    </dgm:pt>
    <dgm:pt modelId="{9904C28A-7265-4D78-86F2-AA59305625A5}">
      <dgm:prSet phldrT="[Texto]" custT="1"/>
      <dgm:spPr/>
      <dgm:t>
        <a:bodyPr lIns="0" tIns="0"/>
        <a:lstStyle/>
        <a:p>
          <a:r>
            <a:rPr lang="es-CL" sz="1800" b="1" dirty="0" smtClean="0">
              <a:latin typeface="Microsoft PhagsPa" pitchFamily="34" charset="0"/>
            </a:rPr>
            <a:t>Cuenta Pública Participativa</a:t>
          </a:r>
          <a:endParaRPr lang="es-CL" sz="1800" b="1" dirty="0">
            <a:latin typeface="Microsoft PhagsPa" pitchFamily="34" charset="0"/>
          </a:endParaRPr>
        </a:p>
      </dgm:t>
    </dgm:pt>
    <dgm:pt modelId="{B7213571-A54E-4A85-841D-160E02008823}" type="parTrans" cxnId="{DBCF5022-1EC2-4BC1-AC45-91552387AFF0}">
      <dgm:prSet/>
      <dgm:spPr/>
      <dgm:t>
        <a:bodyPr/>
        <a:lstStyle/>
        <a:p>
          <a:endParaRPr lang="es-CL" sz="2000">
            <a:solidFill>
              <a:schemeClr val="tx1"/>
            </a:solidFill>
          </a:endParaRPr>
        </a:p>
      </dgm:t>
    </dgm:pt>
    <dgm:pt modelId="{FC9C39A4-3E94-4E1F-81A7-370280A9FFE2}" type="sibTrans" cxnId="{DBCF5022-1EC2-4BC1-AC45-91552387AFF0}">
      <dgm:prSet/>
      <dgm:spPr/>
      <dgm:t>
        <a:bodyPr/>
        <a:lstStyle/>
        <a:p>
          <a:endParaRPr lang="es-CL" sz="2000" dirty="0">
            <a:solidFill>
              <a:schemeClr val="tx1"/>
            </a:solidFill>
          </a:endParaRPr>
        </a:p>
      </dgm:t>
    </dgm:pt>
    <dgm:pt modelId="{83435B1E-0412-4871-A003-B4A60D06EEC5}">
      <dgm:prSet phldrT="[Texto]" custT="1"/>
      <dgm:spPr/>
      <dgm:t>
        <a:bodyPr/>
        <a:lstStyle/>
        <a:p>
          <a:r>
            <a:rPr lang="es-CL" sz="1800" b="1" dirty="0" smtClean="0">
              <a:latin typeface="Microsoft PhagsPa" pitchFamily="34" charset="0"/>
            </a:rPr>
            <a:t>Foros Ciudadanos</a:t>
          </a:r>
        </a:p>
      </dgm:t>
    </dgm:pt>
    <dgm:pt modelId="{EB77AA37-0528-4659-AD0E-4CEB68A84416}" type="parTrans" cxnId="{92A5A263-7035-4604-82B1-33839DD54334}">
      <dgm:prSet/>
      <dgm:spPr/>
      <dgm:t>
        <a:bodyPr/>
        <a:lstStyle/>
        <a:p>
          <a:endParaRPr lang="es-CL" sz="2000">
            <a:solidFill>
              <a:schemeClr val="tx1"/>
            </a:solidFill>
          </a:endParaRPr>
        </a:p>
      </dgm:t>
    </dgm:pt>
    <dgm:pt modelId="{D9B80FF8-2443-4E62-9F19-53CE0C5668B3}" type="sibTrans" cxnId="{92A5A263-7035-4604-82B1-33839DD54334}">
      <dgm:prSet/>
      <dgm:spPr/>
      <dgm:t>
        <a:bodyPr/>
        <a:lstStyle/>
        <a:p>
          <a:endParaRPr lang="es-CL" sz="2000" dirty="0">
            <a:solidFill>
              <a:schemeClr val="tx1"/>
            </a:solidFill>
          </a:endParaRPr>
        </a:p>
      </dgm:t>
    </dgm:pt>
    <dgm:pt modelId="{8AE4BE3D-0938-4283-A01C-325692A809C0}">
      <dgm:prSet phldrT="[Texto]" custT="1"/>
      <dgm:spPr/>
      <dgm:t>
        <a:bodyPr/>
        <a:lstStyle/>
        <a:p>
          <a:r>
            <a:rPr lang="es-CL" sz="1800" b="1" dirty="0" smtClean="0">
              <a:latin typeface="Microsoft PhagsPa" pitchFamily="34" charset="0"/>
            </a:rPr>
            <a:t>Consultas Públicas</a:t>
          </a:r>
          <a:endParaRPr lang="es-CL" sz="1800" b="1" dirty="0">
            <a:latin typeface="Microsoft PhagsPa" pitchFamily="34" charset="0"/>
          </a:endParaRPr>
        </a:p>
      </dgm:t>
    </dgm:pt>
    <dgm:pt modelId="{580441D3-B19C-4F1D-BB62-0A67DFDE9D17}" type="parTrans" cxnId="{D2ABC883-C94C-4CE3-84E6-FB4DCA55F463}">
      <dgm:prSet/>
      <dgm:spPr/>
      <dgm:t>
        <a:bodyPr/>
        <a:lstStyle/>
        <a:p>
          <a:endParaRPr lang="es-CL" sz="2000">
            <a:solidFill>
              <a:schemeClr val="tx1"/>
            </a:solidFill>
          </a:endParaRPr>
        </a:p>
      </dgm:t>
    </dgm:pt>
    <dgm:pt modelId="{45915A1C-0A05-405D-8AB8-57AE8FFA46CE}" type="sibTrans" cxnId="{D2ABC883-C94C-4CE3-84E6-FB4DCA55F463}">
      <dgm:prSet/>
      <dgm:spPr/>
      <dgm:t>
        <a:bodyPr/>
        <a:lstStyle/>
        <a:p>
          <a:endParaRPr lang="es-CL" sz="2000" dirty="0">
            <a:solidFill>
              <a:schemeClr val="tx1"/>
            </a:solidFill>
          </a:endParaRPr>
        </a:p>
      </dgm:t>
    </dgm:pt>
    <dgm:pt modelId="{66874D3A-5E81-4EC4-8077-9A1CFDA39D1E}">
      <dgm:prSet custT="1"/>
      <dgm:spPr/>
      <dgm:t>
        <a:bodyPr/>
        <a:lstStyle/>
        <a:p>
          <a:r>
            <a:rPr lang="es-CL" sz="1800" b="1" dirty="0" smtClean="0">
              <a:solidFill>
                <a:srgbClr val="002060"/>
              </a:solidFill>
              <a:latin typeface="Microsoft PhagsPa" pitchFamily="34" charset="0"/>
            </a:rPr>
            <a:t>Foro de Enlaces </a:t>
          </a:r>
          <a:endParaRPr lang="es-CL" sz="1800" b="1" dirty="0">
            <a:solidFill>
              <a:srgbClr val="002060"/>
            </a:solidFill>
            <a:latin typeface="Microsoft PhagsPa" pitchFamily="34" charset="0"/>
          </a:endParaRPr>
        </a:p>
      </dgm:t>
    </dgm:pt>
    <dgm:pt modelId="{EC27E502-1A86-45C1-96C7-52EA7872EEF7}" type="parTrans" cxnId="{B69EB8A8-7B1D-4BBE-B780-9AA1B27FE5D3}">
      <dgm:prSet/>
      <dgm:spPr/>
      <dgm:t>
        <a:bodyPr/>
        <a:lstStyle/>
        <a:p>
          <a:endParaRPr lang="es-CL" sz="2000">
            <a:solidFill>
              <a:schemeClr val="tx1"/>
            </a:solidFill>
          </a:endParaRPr>
        </a:p>
      </dgm:t>
    </dgm:pt>
    <dgm:pt modelId="{49CDC61B-2E0C-4B46-96BC-547CA58BD73E}" type="sibTrans" cxnId="{B69EB8A8-7B1D-4BBE-B780-9AA1B27FE5D3}">
      <dgm:prSet/>
      <dgm:spPr/>
      <dgm:t>
        <a:bodyPr/>
        <a:lstStyle/>
        <a:p>
          <a:endParaRPr lang="es-CL" sz="2000" dirty="0">
            <a:solidFill>
              <a:schemeClr val="tx1"/>
            </a:solidFill>
          </a:endParaRPr>
        </a:p>
      </dgm:t>
    </dgm:pt>
    <dgm:pt modelId="{11EFD756-5C62-4A36-B1D4-AF285750F1C2}">
      <dgm:prSet custT="1"/>
      <dgm:spPr>
        <a:solidFill>
          <a:schemeClr val="bg1"/>
        </a:solidFill>
        <a:ln>
          <a:solidFill>
            <a:schemeClr val="accent4">
              <a:lumMod val="50000"/>
            </a:schemeClr>
          </a:solidFill>
        </a:ln>
      </dgm:spPr>
      <dgm:t>
        <a:bodyPr/>
        <a:lstStyle/>
        <a:p>
          <a:r>
            <a:rPr lang="es-CL" sz="1800" b="1" dirty="0" smtClean="0">
              <a:solidFill>
                <a:schemeClr val="bg1"/>
              </a:solidFill>
              <a:latin typeface="Microsoft PhagsPa" pitchFamily="34" charset="0"/>
            </a:rPr>
            <a:t>Consejo de Sociedad Civil</a:t>
          </a:r>
          <a:endParaRPr lang="es-CL" sz="1800" b="1" dirty="0">
            <a:solidFill>
              <a:schemeClr val="bg1"/>
            </a:solidFill>
            <a:latin typeface="Microsoft PhagsPa" pitchFamily="34" charset="0"/>
          </a:endParaRPr>
        </a:p>
      </dgm:t>
    </dgm:pt>
    <dgm:pt modelId="{E6F53C41-FBE3-45CD-8830-C9EFE87B84F6}" type="parTrans" cxnId="{F689B4DE-B423-4245-A391-563A292A26CC}">
      <dgm:prSet/>
      <dgm:spPr/>
      <dgm:t>
        <a:bodyPr/>
        <a:lstStyle/>
        <a:p>
          <a:endParaRPr lang="es-CL"/>
        </a:p>
      </dgm:t>
    </dgm:pt>
    <dgm:pt modelId="{03EDD5E9-0426-4CF6-91FC-D6B80AAD1C34}" type="sibTrans" cxnId="{F689B4DE-B423-4245-A391-563A292A26CC}">
      <dgm:prSet/>
      <dgm:spPr/>
      <dgm:t>
        <a:bodyPr/>
        <a:lstStyle/>
        <a:p>
          <a:endParaRPr lang="es-CL"/>
        </a:p>
      </dgm:t>
    </dgm:pt>
    <dgm:pt modelId="{DBEE776B-4E07-41D0-92E1-40C5FB6FD143}" type="pres">
      <dgm:prSet presAssocID="{5A613E7B-485B-490C-91B3-F1246DA546BA}" presName="Name0" presStyleCnt="0">
        <dgm:presLayoutVars>
          <dgm:chMax val="1"/>
          <dgm:dir val="rev"/>
          <dgm:animLvl val="ctr"/>
          <dgm:resizeHandles val="exact"/>
        </dgm:presLayoutVars>
      </dgm:prSet>
      <dgm:spPr/>
      <dgm:t>
        <a:bodyPr/>
        <a:lstStyle/>
        <a:p>
          <a:endParaRPr lang="es-CL"/>
        </a:p>
      </dgm:t>
    </dgm:pt>
    <dgm:pt modelId="{BBE1020B-11F4-458E-9CEE-F1660F13F207}" type="pres">
      <dgm:prSet presAssocID="{6A43E78F-A167-4450-A593-AA7888A0C2C8}" presName="centerShape" presStyleLbl="node0" presStyleIdx="0" presStyleCnt="1" custScaleX="158782"/>
      <dgm:spPr/>
      <dgm:t>
        <a:bodyPr/>
        <a:lstStyle/>
        <a:p>
          <a:endParaRPr lang="es-CL"/>
        </a:p>
      </dgm:t>
    </dgm:pt>
    <dgm:pt modelId="{F7E2A41A-3711-4532-AFF8-E6F6ADD6560D}" type="pres">
      <dgm:prSet presAssocID="{A7250F53-AECD-4B62-872F-4DEA1CFF78C6}" presName="node" presStyleLbl="node1" presStyleIdx="0" presStyleCnt="6" custScaleX="131676" custScaleY="123729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ED73A255-78E7-42D6-9361-DC988A5854A3}" type="pres">
      <dgm:prSet presAssocID="{A7250F53-AECD-4B62-872F-4DEA1CFF78C6}" presName="dummy" presStyleCnt="0"/>
      <dgm:spPr/>
      <dgm:t>
        <a:bodyPr/>
        <a:lstStyle/>
        <a:p>
          <a:endParaRPr lang="es-CL"/>
        </a:p>
      </dgm:t>
    </dgm:pt>
    <dgm:pt modelId="{7B0E60E7-DAFA-4549-9456-0F0F48A63880}" type="pres">
      <dgm:prSet presAssocID="{793048A9-0D87-40BB-A8BC-93FC9758DFD8}" presName="sibTrans" presStyleLbl="sibTrans2D1" presStyleIdx="0" presStyleCnt="6" custScaleX="124226" custScaleY="109869"/>
      <dgm:spPr/>
      <dgm:t>
        <a:bodyPr/>
        <a:lstStyle/>
        <a:p>
          <a:endParaRPr lang="es-CL"/>
        </a:p>
      </dgm:t>
    </dgm:pt>
    <dgm:pt modelId="{1A0D001F-AEBA-4575-AD23-F275DDADECF7}" type="pres">
      <dgm:prSet presAssocID="{9904C28A-7265-4D78-86F2-AA59305625A5}" presName="node" presStyleLbl="node1" presStyleIdx="1" presStyleCnt="6" custScaleX="140105" custScaleY="128320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5D442172-98E1-4C66-9C71-306BB25ACC7F}" type="pres">
      <dgm:prSet presAssocID="{9904C28A-7265-4D78-86F2-AA59305625A5}" presName="dummy" presStyleCnt="0"/>
      <dgm:spPr/>
      <dgm:t>
        <a:bodyPr/>
        <a:lstStyle/>
        <a:p>
          <a:endParaRPr lang="es-CL"/>
        </a:p>
      </dgm:t>
    </dgm:pt>
    <dgm:pt modelId="{4F01BDFF-BD59-4C2A-8C6C-720224946CC8}" type="pres">
      <dgm:prSet presAssocID="{FC9C39A4-3E94-4E1F-81A7-370280A9FFE2}" presName="sibTrans" presStyleLbl="sibTrans2D1" presStyleIdx="1" presStyleCnt="6"/>
      <dgm:spPr/>
      <dgm:t>
        <a:bodyPr/>
        <a:lstStyle/>
        <a:p>
          <a:endParaRPr lang="es-CL"/>
        </a:p>
      </dgm:t>
    </dgm:pt>
    <dgm:pt modelId="{2FD0CD5A-005C-4673-89D0-48734681EFE2}" type="pres">
      <dgm:prSet presAssocID="{83435B1E-0412-4871-A003-B4A60D06EEC5}" presName="node" presStyleLbl="node1" presStyleIdx="2" presStyleCnt="6" custScaleX="136236" custScaleY="128589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8EC5286F-D0E6-48D8-B950-1E0B9FDB4C4B}" type="pres">
      <dgm:prSet presAssocID="{83435B1E-0412-4871-A003-B4A60D06EEC5}" presName="dummy" presStyleCnt="0"/>
      <dgm:spPr/>
      <dgm:t>
        <a:bodyPr/>
        <a:lstStyle/>
        <a:p>
          <a:endParaRPr lang="es-CL"/>
        </a:p>
      </dgm:t>
    </dgm:pt>
    <dgm:pt modelId="{DADD0B9F-D321-477E-8FAF-08A65AF2C432}" type="pres">
      <dgm:prSet presAssocID="{D9B80FF8-2443-4E62-9F19-53CE0C5668B3}" presName="sibTrans" presStyleLbl="sibTrans2D1" presStyleIdx="2" presStyleCnt="6"/>
      <dgm:spPr/>
      <dgm:t>
        <a:bodyPr/>
        <a:lstStyle/>
        <a:p>
          <a:endParaRPr lang="es-CL"/>
        </a:p>
      </dgm:t>
    </dgm:pt>
    <dgm:pt modelId="{FAE755E7-5118-4E6D-B61C-3C82715362ED}" type="pres">
      <dgm:prSet presAssocID="{8AE4BE3D-0938-4283-A01C-325692A809C0}" presName="node" presStyleLbl="node1" presStyleIdx="3" presStyleCnt="6" custScaleX="129268" custScaleY="124103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E125BDC1-551F-4E24-BF53-E7CF02DD3C30}" type="pres">
      <dgm:prSet presAssocID="{8AE4BE3D-0938-4283-A01C-325692A809C0}" presName="dummy" presStyleCnt="0"/>
      <dgm:spPr/>
      <dgm:t>
        <a:bodyPr/>
        <a:lstStyle/>
        <a:p>
          <a:endParaRPr lang="es-CL"/>
        </a:p>
      </dgm:t>
    </dgm:pt>
    <dgm:pt modelId="{739B9E8B-4BD1-4AA4-B63F-CB5804855F41}" type="pres">
      <dgm:prSet presAssocID="{45915A1C-0A05-405D-8AB8-57AE8FFA46CE}" presName="sibTrans" presStyleLbl="sibTrans2D1" presStyleIdx="3" presStyleCnt="6"/>
      <dgm:spPr/>
      <dgm:t>
        <a:bodyPr/>
        <a:lstStyle/>
        <a:p>
          <a:endParaRPr lang="es-CL"/>
        </a:p>
      </dgm:t>
    </dgm:pt>
    <dgm:pt modelId="{99FF0EB2-7A25-43B3-9FCF-4E77A67A0E6B}" type="pres">
      <dgm:prSet presAssocID="{66874D3A-5E81-4EC4-8077-9A1CFDA39D1E}" presName="node" presStyleLbl="node1" presStyleIdx="4" presStyleCnt="6" custScaleX="125413" custScaleY="117950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FA68485B-4407-40A1-9370-63A87220CEED}" type="pres">
      <dgm:prSet presAssocID="{66874D3A-5E81-4EC4-8077-9A1CFDA39D1E}" presName="dummy" presStyleCnt="0"/>
      <dgm:spPr/>
      <dgm:t>
        <a:bodyPr/>
        <a:lstStyle/>
        <a:p>
          <a:endParaRPr lang="es-CL"/>
        </a:p>
      </dgm:t>
    </dgm:pt>
    <dgm:pt modelId="{074D0911-875A-43F1-BE92-AAA9CCCEEEC9}" type="pres">
      <dgm:prSet presAssocID="{49CDC61B-2E0C-4B46-96BC-547CA58BD73E}" presName="sibTrans" presStyleLbl="sibTrans2D1" presStyleIdx="4" presStyleCnt="6"/>
      <dgm:spPr/>
      <dgm:t>
        <a:bodyPr/>
        <a:lstStyle/>
        <a:p>
          <a:endParaRPr lang="es-CL"/>
        </a:p>
      </dgm:t>
    </dgm:pt>
    <dgm:pt modelId="{4AEEC8E6-6BD4-44E6-BFF1-7D2587AA197D}" type="pres">
      <dgm:prSet presAssocID="{11EFD756-5C62-4A36-B1D4-AF285750F1C2}" presName="node" presStyleLbl="node1" presStyleIdx="5" presStyleCnt="6" custScaleX="124146" custScaleY="120816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C945E11F-F517-4300-8CFD-B1B6030F42AB}" type="pres">
      <dgm:prSet presAssocID="{11EFD756-5C62-4A36-B1D4-AF285750F1C2}" presName="dummy" presStyleCnt="0"/>
      <dgm:spPr/>
    </dgm:pt>
    <dgm:pt modelId="{DEA4D434-137B-4BB1-856D-5DDFF73ACD96}" type="pres">
      <dgm:prSet presAssocID="{03EDD5E9-0426-4CF6-91FC-D6B80AAD1C34}" presName="sibTrans" presStyleLbl="sibTrans2D1" presStyleIdx="5" presStyleCnt="6"/>
      <dgm:spPr/>
      <dgm:t>
        <a:bodyPr/>
        <a:lstStyle/>
        <a:p>
          <a:endParaRPr lang="es-CL"/>
        </a:p>
      </dgm:t>
    </dgm:pt>
  </dgm:ptLst>
  <dgm:cxnLst>
    <dgm:cxn modelId="{3E8C126A-4874-4C68-A1F3-0B8C8CD353FC}" type="presOf" srcId="{8AE4BE3D-0938-4283-A01C-325692A809C0}" destId="{FAE755E7-5118-4E6D-B61C-3C82715362ED}" srcOrd="0" destOrd="0" presId="urn:microsoft.com/office/officeart/2005/8/layout/radial6"/>
    <dgm:cxn modelId="{0EE4108C-79B4-430F-9845-3E79BAB0F779}" type="presOf" srcId="{D9B80FF8-2443-4E62-9F19-53CE0C5668B3}" destId="{DADD0B9F-D321-477E-8FAF-08A65AF2C432}" srcOrd="0" destOrd="0" presId="urn:microsoft.com/office/officeart/2005/8/layout/radial6"/>
    <dgm:cxn modelId="{B69EB8A8-7B1D-4BBE-B780-9AA1B27FE5D3}" srcId="{6A43E78F-A167-4450-A593-AA7888A0C2C8}" destId="{66874D3A-5E81-4EC4-8077-9A1CFDA39D1E}" srcOrd="4" destOrd="0" parTransId="{EC27E502-1A86-45C1-96C7-52EA7872EEF7}" sibTransId="{49CDC61B-2E0C-4B46-96BC-547CA58BD73E}"/>
    <dgm:cxn modelId="{BC55CFAF-FA61-41AB-8F1B-8F6635B4D783}" type="presOf" srcId="{03EDD5E9-0426-4CF6-91FC-D6B80AAD1C34}" destId="{DEA4D434-137B-4BB1-856D-5DDFF73ACD96}" srcOrd="0" destOrd="0" presId="urn:microsoft.com/office/officeart/2005/8/layout/radial6"/>
    <dgm:cxn modelId="{6A695EA2-DF4A-453D-A078-20F8B6E4F48B}" type="presOf" srcId="{6A43E78F-A167-4450-A593-AA7888A0C2C8}" destId="{BBE1020B-11F4-458E-9CEE-F1660F13F207}" srcOrd="0" destOrd="0" presId="urn:microsoft.com/office/officeart/2005/8/layout/radial6"/>
    <dgm:cxn modelId="{62ADE12D-DEDC-464F-B32E-AF6843421419}" type="presOf" srcId="{83435B1E-0412-4871-A003-B4A60D06EEC5}" destId="{2FD0CD5A-005C-4673-89D0-48734681EFE2}" srcOrd="0" destOrd="0" presId="urn:microsoft.com/office/officeart/2005/8/layout/radial6"/>
    <dgm:cxn modelId="{BDEA9B86-C58C-40B0-ADA3-BB7BA421B1D2}" type="presOf" srcId="{9904C28A-7265-4D78-86F2-AA59305625A5}" destId="{1A0D001F-AEBA-4575-AD23-F275DDADECF7}" srcOrd="0" destOrd="0" presId="urn:microsoft.com/office/officeart/2005/8/layout/radial6"/>
    <dgm:cxn modelId="{D2ABC883-C94C-4CE3-84E6-FB4DCA55F463}" srcId="{6A43E78F-A167-4450-A593-AA7888A0C2C8}" destId="{8AE4BE3D-0938-4283-A01C-325692A809C0}" srcOrd="3" destOrd="0" parTransId="{580441D3-B19C-4F1D-BB62-0A67DFDE9D17}" sibTransId="{45915A1C-0A05-405D-8AB8-57AE8FFA46CE}"/>
    <dgm:cxn modelId="{DBCF5022-1EC2-4BC1-AC45-91552387AFF0}" srcId="{6A43E78F-A167-4450-A593-AA7888A0C2C8}" destId="{9904C28A-7265-4D78-86F2-AA59305625A5}" srcOrd="1" destOrd="0" parTransId="{B7213571-A54E-4A85-841D-160E02008823}" sibTransId="{FC9C39A4-3E94-4E1F-81A7-370280A9FFE2}"/>
    <dgm:cxn modelId="{26A67E30-81DE-4EE2-9F56-62E65DBEB3C5}" srcId="{6A43E78F-A167-4450-A593-AA7888A0C2C8}" destId="{A7250F53-AECD-4B62-872F-4DEA1CFF78C6}" srcOrd="0" destOrd="0" parTransId="{AAC84DA0-3239-4809-B48F-87DACE716B1D}" sibTransId="{793048A9-0D87-40BB-A8BC-93FC9758DFD8}"/>
    <dgm:cxn modelId="{DE813D4D-82F2-4444-A35C-A13EB8AE057C}" type="presOf" srcId="{11EFD756-5C62-4A36-B1D4-AF285750F1C2}" destId="{4AEEC8E6-6BD4-44E6-BFF1-7D2587AA197D}" srcOrd="0" destOrd="0" presId="urn:microsoft.com/office/officeart/2005/8/layout/radial6"/>
    <dgm:cxn modelId="{EF8F6EAB-B285-45E0-88A3-3DA3A8D1BE2E}" srcId="{5A613E7B-485B-490C-91B3-F1246DA546BA}" destId="{6A43E78F-A167-4450-A593-AA7888A0C2C8}" srcOrd="0" destOrd="0" parTransId="{C8FE198E-FAEF-404D-AF3D-369996CB9723}" sibTransId="{BD087E45-0978-4A12-BEBA-1B09ADED30A9}"/>
    <dgm:cxn modelId="{8ED2DAF7-3B6D-4D72-B5D9-1FBBC4DB6DEA}" type="presOf" srcId="{45915A1C-0A05-405D-8AB8-57AE8FFA46CE}" destId="{739B9E8B-4BD1-4AA4-B63F-CB5804855F41}" srcOrd="0" destOrd="0" presId="urn:microsoft.com/office/officeart/2005/8/layout/radial6"/>
    <dgm:cxn modelId="{F689B4DE-B423-4245-A391-563A292A26CC}" srcId="{6A43E78F-A167-4450-A593-AA7888A0C2C8}" destId="{11EFD756-5C62-4A36-B1D4-AF285750F1C2}" srcOrd="5" destOrd="0" parTransId="{E6F53C41-FBE3-45CD-8830-C9EFE87B84F6}" sibTransId="{03EDD5E9-0426-4CF6-91FC-D6B80AAD1C34}"/>
    <dgm:cxn modelId="{89B6DC6F-9128-4491-8287-8F4364FE7230}" type="presOf" srcId="{5A613E7B-485B-490C-91B3-F1246DA546BA}" destId="{DBEE776B-4E07-41D0-92E1-40C5FB6FD143}" srcOrd="0" destOrd="0" presId="urn:microsoft.com/office/officeart/2005/8/layout/radial6"/>
    <dgm:cxn modelId="{718EDC25-D490-42A9-A606-079F677846DC}" type="presOf" srcId="{A7250F53-AECD-4B62-872F-4DEA1CFF78C6}" destId="{F7E2A41A-3711-4532-AFF8-E6F6ADD6560D}" srcOrd="0" destOrd="0" presId="urn:microsoft.com/office/officeart/2005/8/layout/radial6"/>
    <dgm:cxn modelId="{40120B9A-34E0-49F8-9115-3030EBE157B4}" type="presOf" srcId="{793048A9-0D87-40BB-A8BC-93FC9758DFD8}" destId="{7B0E60E7-DAFA-4549-9456-0F0F48A63880}" srcOrd="0" destOrd="0" presId="urn:microsoft.com/office/officeart/2005/8/layout/radial6"/>
    <dgm:cxn modelId="{0FA5D589-F678-4787-B262-250E5453C2C1}" type="presOf" srcId="{FC9C39A4-3E94-4E1F-81A7-370280A9FFE2}" destId="{4F01BDFF-BD59-4C2A-8C6C-720224946CC8}" srcOrd="0" destOrd="0" presId="urn:microsoft.com/office/officeart/2005/8/layout/radial6"/>
    <dgm:cxn modelId="{29F9130C-56F0-4B7C-8B29-73B13C38FBCE}" type="presOf" srcId="{49CDC61B-2E0C-4B46-96BC-547CA58BD73E}" destId="{074D0911-875A-43F1-BE92-AAA9CCCEEEC9}" srcOrd="0" destOrd="0" presId="urn:microsoft.com/office/officeart/2005/8/layout/radial6"/>
    <dgm:cxn modelId="{92A5A263-7035-4604-82B1-33839DD54334}" srcId="{6A43E78F-A167-4450-A593-AA7888A0C2C8}" destId="{83435B1E-0412-4871-A003-B4A60D06EEC5}" srcOrd="2" destOrd="0" parTransId="{EB77AA37-0528-4659-AD0E-4CEB68A84416}" sibTransId="{D9B80FF8-2443-4E62-9F19-53CE0C5668B3}"/>
    <dgm:cxn modelId="{DF18A5A8-BB5D-444C-8F2B-C8B974DD2787}" type="presOf" srcId="{66874D3A-5E81-4EC4-8077-9A1CFDA39D1E}" destId="{99FF0EB2-7A25-43B3-9FCF-4E77A67A0E6B}" srcOrd="0" destOrd="0" presId="urn:microsoft.com/office/officeart/2005/8/layout/radial6"/>
    <dgm:cxn modelId="{24B7902F-846B-40AC-9013-6C4D4F586BD0}" type="presParOf" srcId="{DBEE776B-4E07-41D0-92E1-40C5FB6FD143}" destId="{BBE1020B-11F4-458E-9CEE-F1660F13F207}" srcOrd="0" destOrd="0" presId="urn:microsoft.com/office/officeart/2005/8/layout/radial6"/>
    <dgm:cxn modelId="{FDF43204-40B4-42F0-99B0-E5AA4D4F0DCC}" type="presParOf" srcId="{DBEE776B-4E07-41D0-92E1-40C5FB6FD143}" destId="{F7E2A41A-3711-4532-AFF8-E6F6ADD6560D}" srcOrd="1" destOrd="0" presId="urn:microsoft.com/office/officeart/2005/8/layout/radial6"/>
    <dgm:cxn modelId="{B3651FAF-47F5-4A9A-88BD-45FE3990F89E}" type="presParOf" srcId="{DBEE776B-4E07-41D0-92E1-40C5FB6FD143}" destId="{ED73A255-78E7-42D6-9361-DC988A5854A3}" srcOrd="2" destOrd="0" presId="urn:microsoft.com/office/officeart/2005/8/layout/radial6"/>
    <dgm:cxn modelId="{E80F89E3-61C0-4C8C-9126-71ABCE81A293}" type="presParOf" srcId="{DBEE776B-4E07-41D0-92E1-40C5FB6FD143}" destId="{7B0E60E7-DAFA-4549-9456-0F0F48A63880}" srcOrd="3" destOrd="0" presId="urn:microsoft.com/office/officeart/2005/8/layout/radial6"/>
    <dgm:cxn modelId="{D1B33099-0302-4AF5-896C-746BC10CAF88}" type="presParOf" srcId="{DBEE776B-4E07-41D0-92E1-40C5FB6FD143}" destId="{1A0D001F-AEBA-4575-AD23-F275DDADECF7}" srcOrd="4" destOrd="0" presId="urn:microsoft.com/office/officeart/2005/8/layout/radial6"/>
    <dgm:cxn modelId="{3661F08A-3CC9-46F7-A653-604091779EF9}" type="presParOf" srcId="{DBEE776B-4E07-41D0-92E1-40C5FB6FD143}" destId="{5D442172-98E1-4C66-9C71-306BB25ACC7F}" srcOrd="5" destOrd="0" presId="urn:microsoft.com/office/officeart/2005/8/layout/radial6"/>
    <dgm:cxn modelId="{42C75CD2-241A-4E90-87BF-18542AC0434A}" type="presParOf" srcId="{DBEE776B-4E07-41D0-92E1-40C5FB6FD143}" destId="{4F01BDFF-BD59-4C2A-8C6C-720224946CC8}" srcOrd="6" destOrd="0" presId="urn:microsoft.com/office/officeart/2005/8/layout/radial6"/>
    <dgm:cxn modelId="{EEEBCF5B-3BC2-40C9-B583-44F204E473D5}" type="presParOf" srcId="{DBEE776B-4E07-41D0-92E1-40C5FB6FD143}" destId="{2FD0CD5A-005C-4673-89D0-48734681EFE2}" srcOrd="7" destOrd="0" presId="urn:microsoft.com/office/officeart/2005/8/layout/radial6"/>
    <dgm:cxn modelId="{FD0D4F3B-C48F-4013-B139-E33C794AC5A7}" type="presParOf" srcId="{DBEE776B-4E07-41D0-92E1-40C5FB6FD143}" destId="{8EC5286F-D0E6-48D8-B950-1E0B9FDB4C4B}" srcOrd="8" destOrd="0" presId="urn:microsoft.com/office/officeart/2005/8/layout/radial6"/>
    <dgm:cxn modelId="{93D509AD-EAF9-47DA-9F37-5A3EA173BF74}" type="presParOf" srcId="{DBEE776B-4E07-41D0-92E1-40C5FB6FD143}" destId="{DADD0B9F-D321-477E-8FAF-08A65AF2C432}" srcOrd="9" destOrd="0" presId="urn:microsoft.com/office/officeart/2005/8/layout/radial6"/>
    <dgm:cxn modelId="{28EC65A6-86AB-4868-A707-F8AB399E98A5}" type="presParOf" srcId="{DBEE776B-4E07-41D0-92E1-40C5FB6FD143}" destId="{FAE755E7-5118-4E6D-B61C-3C82715362ED}" srcOrd="10" destOrd="0" presId="urn:microsoft.com/office/officeart/2005/8/layout/radial6"/>
    <dgm:cxn modelId="{84A67EDB-D29F-4D85-833E-121697B2731B}" type="presParOf" srcId="{DBEE776B-4E07-41D0-92E1-40C5FB6FD143}" destId="{E125BDC1-551F-4E24-BF53-E7CF02DD3C30}" srcOrd="11" destOrd="0" presId="urn:microsoft.com/office/officeart/2005/8/layout/radial6"/>
    <dgm:cxn modelId="{1CD22C9E-90F5-415A-B00A-EF4051CA57A7}" type="presParOf" srcId="{DBEE776B-4E07-41D0-92E1-40C5FB6FD143}" destId="{739B9E8B-4BD1-4AA4-B63F-CB5804855F41}" srcOrd="12" destOrd="0" presId="urn:microsoft.com/office/officeart/2005/8/layout/radial6"/>
    <dgm:cxn modelId="{BBD71D97-DCDD-4592-9158-33187FA9DC82}" type="presParOf" srcId="{DBEE776B-4E07-41D0-92E1-40C5FB6FD143}" destId="{99FF0EB2-7A25-43B3-9FCF-4E77A67A0E6B}" srcOrd="13" destOrd="0" presId="urn:microsoft.com/office/officeart/2005/8/layout/radial6"/>
    <dgm:cxn modelId="{5B040DFA-5888-4717-9A2D-67A3E7242B70}" type="presParOf" srcId="{DBEE776B-4E07-41D0-92E1-40C5FB6FD143}" destId="{FA68485B-4407-40A1-9370-63A87220CEED}" srcOrd="14" destOrd="0" presId="urn:microsoft.com/office/officeart/2005/8/layout/radial6"/>
    <dgm:cxn modelId="{0DC31665-6955-4579-970F-DB7805CF0F72}" type="presParOf" srcId="{DBEE776B-4E07-41D0-92E1-40C5FB6FD143}" destId="{074D0911-875A-43F1-BE92-AAA9CCCEEEC9}" srcOrd="15" destOrd="0" presId="urn:microsoft.com/office/officeart/2005/8/layout/radial6"/>
    <dgm:cxn modelId="{0B2F293D-8A6A-4401-9762-F0D4476A36AB}" type="presParOf" srcId="{DBEE776B-4E07-41D0-92E1-40C5FB6FD143}" destId="{4AEEC8E6-6BD4-44E6-BFF1-7D2587AA197D}" srcOrd="16" destOrd="0" presId="urn:microsoft.com/office/officeart/2005/8/layout/radial6"/>
    <dgm:cxn modelId="{22380D09-42AD-492E-956F-30D40182F778}" type="presParOf" srcId="{DBEE776B-4E07-41D0-92E1-40C5FB6FD143}" destId="{C945E11F-F517-4300-8CFD-B1B6030F42AB}" srcOrd="17" destOrd="0" presId="urn:microsoft.com/office/officeart/2005/8/layout/radial6"/>
    <dgm:cxn modelId="{6CED73CA-A9B5-4276-B833-7627348E3154}" type="presParOf" srcId="{DBEE776B-4E07-41D0-92E1-40C5FB6FD143}" destId="{DEA4D434-137B-4BB1-856D-5DDFF73ACD96}" srcOrd="18" destOrd="0" presId="urn:microsoft.com/office/officeart/2005/8/layout/radial6"/>
  </dgm:cxnLst>
  <dgm:bg>
    <a:solidFill>
      <a:schemeClr val="bg1"/>
    </a:solidFill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AC9BF8E-6129-4782-83FC-A3B6EFA7B6C3}" type="doc">
      <dgm:prSet loTypeId="urn:microsoft.com/office/officeart/2008/layout/AccentedPicture" loCatId="picture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s-CL"/>
        </a:p>
      </dgm:t>
    </dgm:pt>
    <dgm:pt modelId="{5108B392-EA92-4F38-B613-D9CDDF762815}">
      <dgm:prSet/>
      <dgm:spPr/>
      <dgm:t>
        <a:bodyPr/>
        <a:lstStyle/>
        <a:p>
          <a:endParaRPr lang="es-CL"/>
        </a:p>
      </dgm:t>
    </dgm:pt>
    <dgm:pt modelId="{4DEE372A-26A3-44CB-BA8F-E8135755B1CA}" type="parTrans" cxnId="{64523247-DB5D-463A-A9E6-1F7328DD65FC}">
      <dgm:prSet/>
      <dgm:spPr/>
      <dgm:t>
        <a:bodyPr/>
        <a:lstStyle/>
        <a:p>
          <a:endParaRPr lang="es-CL"/>
        </a:p>
      </dgm:t>
    </dgm:pt>
    <dgm:pt modelId="{DA93368C-A458-41C1-9461-CB710A41E217}" type="sibTrans" cxnId="{64523247-DB5D-463A-A9E6-1F7328DD65FC}">
      <dgm:prSet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CL"/>
        </a:p>
      </dgm:t>
    </dgm:pt>
    <dgm:pt modelId="{51218784-62CC-41A3-9C2C-49BF3150374A}">
      <dgm:prSet custT="1"/>
      <dgm:spPr/>
      <dgm:t>
        <a:bodyPr/>
        <a:lstStyle/>
        <a:p>
          <a:r>
            <a:rPr lang="es-CL" sz="2000" dirty="0" smtClean="0">
              <a:latin typeface="Microsoft PhagsPa" pitchFamily="34" charset="0"/>
            </a:rPr>
            <a:t>Universidad Central de Coquimbo</a:t>
          </a:r>
          <a:endParaRPr lang="es-CL" sz="2000" dirty="0">
            <a:latin typeface="Microsoft PhagsPa" pitchFamily="34" charset="0"/>
          </a:endParaRPr>
        </a:p>
      </dgm:t>
    </dgm:pt>
    <dgm:pt modelId="{556AD244-AC82-4071-A830-2D1C429A4472}" type="parTrans" cxnId="{DC42CCFE-6A7F-491C-A56C-27A564C13C80}">
      <dgm:prSet/>
      <dgm:spPr/>
      <dgm:t>
        <a:bodyPr/>
        <a:lstStyle/>
        <a:p>
          <a:endParaRPr lang="es-CL"/>
        </a:p>
      </dgm:t>
    </dgm:pt>
    <dgm:pt modelId="{09560AFE-2C90-45E1-A2CB-CE99232EDCAF}" type="sibTrans" cxnId="{DC42CCFE-6A7F-491C-A56C-27A564C13C80}">
      <dgm:prSet/>
      <dgm:spPr/>
      <dgm:t>
        <a:bodyPr/>
        <a:lstStyle/>
        <a:p>
          <a:endParaRPr lang="es-CL"/>
        </a:p>
      </dgm:t>
    </dgm:pt>
    <dgm:pt modelId="{35FA7A8C-B85F-4942-92E8-4EC059506593}">
      <dgm:prSet custT="1"/>
      <dgm:spPr/>
      <dgm:t>
        <a:bodyPr/>
        <a:lstStyle/>
        <a:p>
          <a:r>
            <a:rPr lang="es-CL" sz="2000" dirty="0" smtClean="0">
              <a:latin typeface="Microsoft PhagsPa" pitchFamily="34" charset="0"/>
            </a:rPr>
            <a:t>Universidad de Los Lagos</a:t>
          </a:r>
          <a:endParaRPr lang="es-CL" sz="2000" dirty="0">
            <a:latin typeface="Microsoft PhagsPa" pitchFamily="34" charset="0"/>
          </a:endParaRPr>
        </a:p>
      </dgm:t>
    </dgm:pt>
    <dgm:pt modelId="{D5EF8B10-AED9-44A3-A651-21CE60199A85}" type="parTrans" cxnId="{D398EA37-8206-4FA1-881A-9FEAEA986DED}">
      <dgm:prSet/>
      <dgm:spPr/>
      <dgm:t>
        <a:bodyPr/>
        <a:lstStyle/>
        <a:p>
          <a:endParaRPr lang="es-CL"/>
        </a:p>
      </dgm:t>
    </dgm:pt>
    <dgm:pt modelId="{444AB33A-1CCB-4FB2-83CF-36C06C778B80}" type="sibTrans" cxnId="{D398EA37-8206-4FA1-881A-9FEAEA986DED}">
      <dgm:prSet/>
      <dgm:spPr/>
      <dgm:t>
        <a:bodyPr/>
        <a:lstStyle/>
        <a:p>
          <a:endParaRPr lang="es-CL"/>
        </a:p>
      </dgm:t>
    </dgm:pt>
    <dgm:pt modelId="{9BE17954-EE49-4A85-BC96-A7F2EC243B89}">
      <dgm:prSet custT="1"/>
      <dgm:spPr/>
      <dgm:t>
        <a:bodyPr/>
        <a:lstStyle/>
        <a:p>
          <a:r>
            <a:rPr lang="es-CL" sz="2000" dirty="0" smtClean="0">
              <a:latin typeface="Microsoft PhagsPa" pitchFamily="34" charset="0"/>
            </a:rPr>
            <a:t>Universidad de Talca</a:t>
          </a:r>
          <a:endParaRPr lang="es-CL" sz="2000" dirty="0">
            <a:latin typeface="Microsoft PhagsPa" pitchFamily="34" charset="0"/>
          </a:endParaRPr>
        </a:p>
      </dgm:t>
    </dgm:pt>
    <dgm:pt modelId="{0968E240-53AD-42B8-94EF-3C178E7FA99B}" type="parTrans" cxnId="{A526051B-A608-4877-965C-BA1B64A5AF76}">
      <dgm:prSet/>
      <dgm:spPr/>
      <dgm:t>
        <a:bodyPr/>
        <a:lstStyle/>
        <a:p>
          <a:endParaRPr lang="es-CL"/>
        </a:p>
      </dgm:t>
    </dgm:pt>
    <dgm:pt modelId="{09BA32FE-F1DB-467A-8D95-198AAA618961}" type="sibTrans" cxnId="{A526051B-A608-4877-965C-BA1B64A5AF76}">
      <dgm:prSet/>
      <dgm:spPr/>
      <dgm:t>
        <a:bodyPr/>
        <a:lstStyle/>
        <a:p>
          <a:endParaRPr lang="es-CL"/>
        </a:p>
      </dgm:t>
    </dgm:pt>
    <dgm:pt modelId="{7002756B-4FFE-418E-AAB7-3079AAF911F0}">
      <dgm:prSet custT="1"/>
      <dgm:spPr/>
      <dgm:t>
        <a:bodyPr/>
        <a:lstStyle/>
        <a:p>
          <a:r>
            <a:rPr lang="es-CL" sz="2000" dirty="0" smtClean="0">
              <a:latin typeface="Microsoft PhagsPa" pitchFamily="34" charset="0"/>
            </a:rPr>
            <a:t>Universidad de Concepción</a:t>
          </a:r>
          <a:endParaRPr lang="es-CL" sz="2000" dirty="0">
            <a:latin typeface="Microsoft PhagsPa" pitchFamily="34" charset="0"/>
          </a:endParaRPr>
        </a:p>
      </dgm:t>
    </dgm:pt>
    <dgm:pt modelId="{03586F20-C230-48BB-A7F0-6239A4CFB419}" type="parTrans" cxnId="{F43FF122-D764-4D13-9DEC-681E6F266AF3}">
      <dgm:prSet/>
      <dgm:spPr/>
      <dgm:t>
        <a:bodyPr/>
        <a:lstStyle/>
        <a:p>
          <a:endParaRPr lang="es-CL"/>
        </a:p>
      </dgm:t>
    </dgm:pt>
    <dgm:pt modelId="{B239ADA0-6129-4982-B6EE-E3F849988B2F}" type="sibTrans" cxnId="{F43FF122-D764-4D13-9DEC-681E6F266AF3}">
      <dgm:prSet/>
      <dgm:spPr/>
      <dgm:t>
        <a:bodyPr/>
        <a:lstStyle/>
        <a:p>
          <a:endParaRPr lang="es-CL"/>
        </a:p>
      </dgm:t>
    </dgm:pt>
    <dgm:pt modelId="{BE4AC3AC-B99A-475C-88CC-F69F88A15530}">
      <dgm:prSet custT="1"/>
      <dgm:spPr/>
      <dgm:t>
        <a:bodyPr/>
        <a:lstStyle/>
        <a:p>
          <a:r>
            <a:rPr lang="es-CL" sz="2000" dirty="0" smtClean="0">
              <a:latin typeface="Microsoft PhagsPa" pitchFamily="34" charset="0"/>
            </a:rPr>
            <a:t>Universidad Católica de Temuco</a:t>
          </a:r>
          <a:endParaRPr lang="es-CL" sz="2000" dirty="0">
            <a:latin typeface="Microsoft PhagsPa" pitchFamily="34" charset="0"/>
          </a:endParaRPr>
        </a:p>
      </dgm:t>
    </dgm:pt>
    <dgm:pt modelId="{3048D517-DE2E-4644-ACA2-1A4EE6B7A0B8}" type="parTrans" cxnId="{984DD4AD-0A46-464B-AD58-8D73F767F9EA}">
      <dgm:prSet/>
      <dgm:spPr/>
      <dgm:t>
        <a:bodyPr/>
        <a:lstStyle/>
        <a:p>
          <a:endParaRPr lang="es-CL"/>
        </a:p>
      </dgm:t>
    </dgm:pt>
    <dgm:pt modelId="{8A9978CC-5C80-4453-9172-335822D194CA}" type="sibTrans" cxnId="{984DD4AD-0A46-464B-AD58-8D73F767F9EA}">
      <dgm:prSet/>
      <dgm:spPr/>
      <dgm:t>
        <a:bodyPr/>
        <a:lstStyle/>
        <a:p>
          <a:endParaRPr lang="es-CL"/>
        </a:p>
      </dgm:t>
    </dgm:pt>
    <dgm:pt modelId="{1A523C1A-9E66-4B9A-99CC-C723CA1D8043}" type="pres">
      <dgm:prSet presAssocID="{7AC9BF8E-6129-4782-83FC-A3B6EFA7B6C3}" presName="Name0" presStyleCnt="0">
        <dgm:presLayoutVars>
          <dgm:dir/>
        </dgm:presLayoutVars>
      </dgm:prSet>
      <dgm:spPr/>
      <dgm:t>
        <a:bodyPr/>
        <a:lstStyle/>
        <a:p>
          <a:endParaRPr lang="es-CL"/>
        </a:p>
      </dgm:t>
    </dgm:pt>
    <dgm:pt modelId="{A5FE68E2-871D-4753-99EF-7385F42A22D7}" type="pres">
      <dgm:prSet presAssocID="{DA93368C-A458-41C1-9461-CB710A41E217}" presName="picture_1" presStyleLbl="bgImgPlace1" presStyleIdx="0" presStyleCnt="1" custScaleX="49378" custScaleY="40084" custLinFactNeighborX="-34703" custLinFactNeighborY="25346"/>
      <dgm:spPr/>
      <dgm:t>
        <a:bodyPr/>
        <a:lstStyle/>
        <a:p>
          <a:endParaRPr lang="es-CL"/>
        </a:p>
      </dgm:t>
    </dgm:pt>
    <dgm:pt modelId="{35C65075-6913-4E1A-876D-F11FABBCE5C5}" type="pres">
      <dgm:prSet presAssocID="{5108B392-EA92-4F38-B613-D9CDDF762815}" presName="text_1" presStyleLbl="node1" presStyleIdx="0" presStyleCnt="0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B10242CB-3278-43C8-8B6A-66FE6DDE58E4}" type="pres">
      <dgm:prSet presAssocID="{7AC9BF8E-6129-4782-83FC-A3B6EFA7B6C3}" presName="linV" presStyleCnt="0"/>
      <dgm:spPr/>
      <dgm:t>
        <a:bodyPr/>
        <a:lstStyle/>
        <a:p>
          <a:endParaRPr lang="es-CL"/>
        </a:p>
      </dgm:t>
    </dgm:pt>
    <dgm:pt modelId="{647BFEDB-CE93-4200-8561-31575EEF8C7B}" type="pres">
      <dgm:prSet presAssocID="{51218784-62CC-41A3-9C2C-49BF3150374A}" presName="pair" presStyleCnt="0"/>
      <dgm:spPr/>
      <dgm:t>
        <a:bodyPr/>
        <a:lstStyle/>
        <a:p>
          <a:endParaRPr lang="es-CL"/>
        </a:p>
      </dgm:t>
    </dgm:pt>
    <dgm:pt modelId="{1CEE972A-D1F6-4306-9432-637588A22FBA}" type="pres">
      <dgm:prSet presAssocID="{51218784-62CC-41A3-9C2C-49BF3150374A}" presName="spaceH" presStyleLbl="node1" presStyleIdx="0" presStyleCnt="0"/>
      <dgm:spPr/>
      <dgm:t>
        <a:bodyPr/>
        <a:lstStyle/>
        <a:p>
          <a:endParaRPr lang="es-CL"/>
        </a:p>
      </dgm:t>
    </dgm:pt>
    <dgm:pt modelId="{4141B2A8-CC78-4DDA-BB08-5293D90DF493}" type="pres">
      <dgm:prSet presAssocID="{51218784-62CC-41A3-9C2C-49BF3150374A}" presName="desPictures" presStyleLbl="alignImgPlace1" presStyleIdx="0" presStyleCnt="5" custLinFactNeighborX="-80436" custLinFactNeighborY="-164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endParaRPr lang="es-CL"/>
        </a:p>
      </dgm:t>
    </dgm:pt>
    <dgm:pt modelId="{78704033-AAB3-43E7-B3D3-58B135C58D74}" type="pres">
      <dgm:prSet presAssocID="{51218784-62CC-41A3-9C2C-49BF3150374A}" presName="desTextWrapper" presStyleCnt="0"/>
      <dgm:spPr/>
      <dgm:t>
        <a:bodyPr/>
        <a:lstStyle/>
        <a:p>
          <a:endParaRPr lang="es-CL"/>
        </a:p>
      </dgm:t>
    </dgm:pt>
    <dgm:pt modelId="{E9704E33-7694-4A67-A0CF-8A34E1223C17}" type="pres">
      <dgm:prSet presAssocID="{51218784-62CC-41A3-9C2C-49BF3150374A}" presName="desText" presStyleLbl="revTx" presStyleIdx="0" presStyleCnt="5" custScaleX="210043" custLinFactNeighborX="-56466" custLinFactNeighborY="-6700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A5926569-125C-41CF-9020-6B8306064207}" type="pres">
      <dgm:prSet presAssocID="{09560AFE-2C90-45E1-A2CB-CE99232EDCAF}" presName="spaceV" presStyleCnt="0"/>
      <dgm:spPr/>
      <dgm:t>
        <a:bodyPr/>
        <a:lstStyle/>
        <a:p>
          <a:endParaRPr lang="es-CL"/>
        </a:p>
      </dgm:t>
    </dgm:pt>
    <dgm:pt modelId="{E4C01872-0DC4-45B4-A967-145A2278EF74}" type="pres">
      <dgm:prSet presAssocID="{9BE17954-EE49-4A85-BC96-A7F2EC243B89}" presName="pair" presStyleCnt="0"/>
      <dgm:spPr/>
      <dgm:t>
        <a:bodyPr/>
        <a:lstStyle/>
        <a:p>
          <a:endParaRPr lang="es-CL"/>
        </a:p>
      </dgm:t>
    </dgm:pt>
    <dgm:pt modelId="{F7D705EB-BC44-4EE1-924D-3A3146EA38E7}" type="pres">
      <dgm:prSet presAssocID="{9BE17954-EE49-4A85-BC96-A7F2EC243B89}" presName="spaceH" presStyleLbl="node1" presStyleIdx="0" presStyleCnt="0"/>
      <dgm:spPr/>
      <dgm:t>
        <a:bodyPr/>
        <a:lstStyle/>
        <a:p>
          <a:endParaRPr lang="es-CL"/>
        </a:p>
      </dgm:t>
    </dgm:pt>
    <dgm:pt modelId="{8383EE42-008D-40B3-8FB7-FB70D4037C16}" type="pres">
      <dgm:prSet presAssocID="{9BE17954-EE49-4A85-BC96-A7F2EC243B89}" presName="desPictures" presStyleLbl="alignImgPlace1" presStyleIdx="1" presStyleCnt="5" custLinFactNeighborX="-80436" custLinFactNeighborY="7195"/>
      <dgm:spPr>
        <a:solidFill>
          <a:schemeClr val="accent4">
            <a:lumMod val="20000"/>
            <a:lumOff val="80000"/>
          </a:schemeClr>
        </a:solidFill>
      </dgm:spPr>
      <dgm:t>
        <a:bodyPr/>
        <a:lstStyle/>
        <a:p>
          <a:endParaRPr lang="es-CL"/>
        </a:p>
      </dgm:t>
    </dgm:pt>
    <dgm:pt modelId="{82AA3E3C-7099-4559-9471-01092114F9BD}" type="pres">
      <dgm:prSet presAssocID="{9BE17954-EE49-4A85-BC96-A7F2EC243B89}" presName="desTextWrapper" presStyleCnt="0"/>
      <dgm:spPr/>
      <dgm:t>
        <a:bodyPr/>
        <a:lstStyle/>
        <a:p>
          <a:endParaRPr lang="es-CL"/>
        </a:p>
      </dgm:t>
    </dgm:pt>
    <dgm:pt modelId="{0F2EB925-0A30-41FA-81B7-C4B634E4819B}" type="pres">
      <dgm:prSet presAssocID="{9BE17954-EE49-4A85-BC96-A7F2EC243B89}" presName="desText" presStyleLbl="revTx" presStyleIdx="1" presStyleCnt="5" custScaleX="162740" custLinFactNeighborX="-56466" custLinFactNeighborY="4651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10BABD8F-0633-463B-849D-D259EA17E909}" type="pres">
      <dgm:prSet presAssocID="{09BA32FE-F1DB-467A-8D95-198AAA618961}" presName="spaceV" presStyleCnt="0"/>
      <dgm:spPr/>
      <dgm:t>
        <a:bodyPr/>
        <a:lstStyle/>
        <a:p>
          <a:endParaRPr lang="es-CL"/>
        </a:p>
      </dgm:t>
    </dgm:pt>
    <dgm:pt modelId="{9B3C1AFC-46F2-458C-8468-3A28322B3201}" type="pres">
      <dgm:prSet presAssocID="{7002756B-4FFE-418E-AAB7-3079AAF911F0}" presName="pair" presStyleCnt="0"/>
      <dgm:spPr/>
      <dgm:t>
        <a:bodyPr/>
        <a:lstStyle/>
        <a:p>
          <a:endParaRPr lang="es-CL"/>
        </a:p>
      </dgm:t>
    </dgm:pt>
    <dgm:pt modelId="{F87184B6-03E7-48CD-B577-2154505780BA}" type="pres">
      <dgm:prSet presAssocID="{7002756B-4FFE-418E-AAB7-3079AAF911F0}" presName="spaceH" presStyleLbl="node1" presStyleIdx="0" presStyleCnt="0"/>
      <dgm:spPr/>
      <dgm:t>
        <a:bodyPr/>
        <a:lstStyle/>
        <a:p>
          <a:endParaRPr lang="es-CL"/>
        </a:p>
      </dgm:t>
    </dgm:pt>
    <dgm:pt modelId="{928D6DB3-82DF-4252-BDA1-E6F31A064116}" type="pres">
      <dgm:prSet presAssocID="{7002756B-4FFE-418E-AAB7-3079AAF911F0}" presName="desPictures" presStyleLbl="alignImgPlace1" presStyleIdx="2" presStyleCnt="5" custLinFactNeighborX="-80436" custLinFactNeighborY="5271"/>
      <dgm:spPr>
        <a:solidFill>
          <a:schemeClr val="accent6"/>
        </a:solidFill>
      </dgm:spPr>
      <dgm:t>
        <a:bodyPr/>
        <a:lstStyle/>
        <a:p>
          <a:endParaRPr lang="es-CL"/>
        </a:p>
      </dgm:t>
    </dgm:pt>
    <dgm:pt modelId="{24B1ADE0-C56F-4034-9332-E63B54938FA5}" type="pres">
      <dgm:prSet presAssocID="{7002756B-4FFE-418E-AAB7-3079AAF911F0}" presName="desTextWrapper" presStyleCnt="0"/>
      <dgm:spPr/>
      <dgm:t>
        <a:bodyPr/>
        <a:lstStyle/>
        <a:p>
          <a:endParaRPr lang="es-CL"/>
        </a:p>
      </dgm:t>
    </dgm:pt>
    <dgm:pt modelId="{FD036E3E-EA19-40F3-B4AA-BFFBF0C3D190}" type="pres">
      <dgm:prSet presAssocID="{7002756B-4FFE-418E-AAB7-3079AAF911F0}" presName="desText" presStyleLbl="revTx" presStyleIdx="2" presStyleCnt="5" custScaleX="187836" custLinFactNeighborX="-56466" custLinFactNeighborY="-8536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98B31962-8EBB-40CF-9615-CB4BD24E33D6}" type="pres">
      <dgm:prSet presAssocID="{B239ADA0-6129-4982-B6EE-E3F849988B2F}" presName="spaceV" presStyleCnt="0"/>
      <dgm:spPr/>
      <dgm:t>
        <a:bodyPr/>
        <a:lstStyle/>
        <a:p>
          <a:endParaRPr lang="es-CL"/>
        </a:p>
      </dgm:t>
    </dgm:pt>
    <dgm:pt modelId="{A0C42365-9C8B-472E-90CC-A3686721DF51}" type="pres">
      <dgm:prSet presAssocID="{BE4AC3AC-B99A-475C-88CC-F69F88A15530}" presName="pair" presStyleCnt="0"/>
      <dgm:spPr/>
      <dgm:t>
        <a:bodyPr/>
        <a:lstStyle/>
        <a:p>
          <a:endParaRPr lang="es-CL"/>
        </a:p>
      </dgm:t>
    </dgm:pt>
    <dgm:pt modelId="{BB5D198D-F499-40D6-85D0-70D181C1E90B}" type="pres">
      <dgm:prSet presAssocID="{BE4AC3AC-B99A-475C-88CC-F69F88A15530}" presName="spaceH" presStyleLbl="node1" presStyleIdx="0" presStyleCnt="0"/>
      <dgm:spPr/>
      <dgm:t>
        <a:bodyPr/>
        <a:lstStyle/>
        <a:p>
          <a:endParaRPr lang="es-CL"/>
        </a:p>
      </dgm:t>
    </dgm:pt>
    <dgm:pt modelId="{56A36462-DAEC-401B-BAE5-862D64E70240}" type="pres">
      <dgm:prSet presAssocID="{BE4AC3AC-B99A-475C-88CC-F69F88A15530}" presName="desPictures" presStyleLbl="alignImgPlace1" presStyleIdx="3" presStyleCnt="5" custLinFactNeighborX="-80436" custLinFactNeighborY="-28"/>
      <dgm:spPr>
        <a:solidFill>
          <a:schemeClr val="accent5">
            <a:lumMod val="40000"/>
            <a:lumOff val="60000"/>
          </a:schemeClr>
        </a:solidFill>
      </dgm:spPr>
      <dgm:t>
        <a:bodyPr/>
        <a:lstStyle/>
        <a:p>
          <a:endParaRPr lang="es-CL"/>
        </a:p>
      </dgm:t>
    </dgm:pt>
    <dgm:pt modelId="{89A143F9-6F74-4B84-9D02-D5C34D9BBDA8}" type="pres">
      <dgm:prSet presAssocID="{BE4AC3AC-B99A-475C-88CC-F69F88A15530}" presName="desTextWrapper" presStyleCnt="0"/>
      <dgm:spPr/>
      <dgm:t>
        <a:bodyPr/>
        <a:lstStyle/>
        <a:p>
          <a:endParaRPr lang="es-CL"/>
        </a:p>
      </dgm:t>
    </dgm:pt>
    <dgm:pt modelId="{BC012F9D-3E83-409D-8BC5-C46A7741A3CE}" type="pres">
      <dgm:prSet presAssocID="{BE4AC3AC-B99A-475C-88CC-F69F88A15530}" presName="desText" presStyleLbl="revTx" presStyleIdx="3" presStyleCnt="5" custScaleX="187836" custLinFactNeighborX="-56466" custLinFactNeighborY="-28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A19DC32D-331D-4C3B-A558-41F839CB96AF}" type="pres">
      <dgm:prSet presAssocID="{8A9978CC-5C80-4453-9172-335822D194CA}" presName="spaceV" presStyleCnt="0"/>
      <dgm:spPr/>
      <dgm:t>
        <a:bodyPr/>
        <a:lstStyle/>
        <a:p>
          <a:endParaRPr lang="es-CL"/>
        </a:p>
      </dgm:t>
    </dgm:pt>
    <dgm:pt modelId="{AA0D6EF2-1B17-4725-9B65-6BF4AC2B3556}" type="pres">
      <dgm:prSet presAssocID="{35FA7A8C-B85F-4942-92E8-4EC059506593}" presName="pair" presStyleCnt="0"/>
      <dgm:spPr/>
      <dgm:t>
        <a:bodyPr/>
        <a:lstStyle/>
        <a:p>
          <a:endParaRPr lang="es-CL"/>
        </a:p>
      </dgm:t>
    </dgm:pt>
    <dgm:pt modelId="{71883DC5-69F0-4492-9426-6F3779636EAC}" type="pres">
      <dgm:prSet presAssocID="{35FA7A8C-B85F-4942-92E8-4EC059506593}" presName="spaceH" presStyleLbl="node1" presStyleIdx="0" presStyleCnt="0"/>
      <dgm:spPr/>
      <dgm:t>
        <a:bodyPr/>
        <a:lstStyle/>
        <a:p>
          <a:endParaRPr lang="es-CL"/>
        </a:p>
      </dgm:t>
    </dgm:pt>
    <dgm:pt modelId="{4A6386F1-12ED-454E-B4AF-D21AF376BCC1}" type="pres">
      <dgm:prSet presAssocID="{35FA7A8C-B85F-4942-92E8-4EC059506593}" presName="desPictures" presStyleLbl="alignImgPlace1" presStyleIdx="4" presStyleCnt="5" custLinFactNeighborX="-80436" custLinFactNeighborY="-5349"/>
      <dgm:spPr>
        <a:solidFill>
          <a:schemeClr val="accent5">
            <a:lumMod val="20000"/>
            <a:lumOff val="80000"/>
          </a:schemeClr>
        </a:solidFill>
      </dgm:spPr>
      <dgm:t>
        <a:bodyPr/>
        <a:lstStyle/>
        <a:p>
          <a:endParaRPr lang="es-CL"/>
        </a:p>
      </dgm:t>
    </dgm:pt>
    <dgm:pt modelId="{FCF517C1-E7A8-477B-87F4-EECDE7641E5B}" type="pres">
      <dgm:prSet presAssocID="{35FA7A8C-B85F-4942-92E8-4EC059506593}" presName="desTextWrapper" presStyleCnt="0"/>
      <dgm:spPr/>
      <dgm:t>
        <a:bodyPr/>
        <a:lstStyle/>
        <a:p>
          <a:endParaRPr lang="es-CL"/>
        </a:p>
      </dgm:t>
    </dgm:pt>
    <dgm:pt modelId="{51A3AE4C-924F-4DCA-A1B8-EF25487D4519}" type="pres">
      <dgm:prSet presAssocID="{35FA7A8C-B85F-4942-92E8-4EC059506593}" presName="desText" presStyleLbl="revTx" presStyleIdx="4" presStyleCnt="5" custScaleX="187836" custLinFactNeighborX="-54058" custLinFactNeighborY="2700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A62DAE7D-C8BE-4960-9522-7764181BA3E4}" type="pres">
      <dgm:prSet presAssocID="{7AC9BF8E-6129-4782-83FC-A3B6EFA7B6C3}" presName="maxNode" presStyleCnt="0"/>
      <dgm:spPr/>
      <dgm:t>
        <a:bodyPr/>
        <a:lstStyle/>
        <a:p>
          <a:endParaRPr lang="es-CL"/>
        </a:p>
      </dgm:t>
    </dgm:pt>
    <dgm:pt modelId="{3B764F00-2CFB-4E62-9F31-DC667048F630}" type="pres">
      <dgm:prSet presAssocID="{7AC9BF8E-6129-4782-83FC-A3B6EFA7B6C3}" presName="Name33" presStyleCnt="0"/>
      <dgm:spPr/>
      <dgm:t>
        <a:bodyPr/>
        <a:lstStyle/>
        <a:p>
          <a:endParaRPr lang="es-CL"/>
        </a:p>
      </dgm:t>
    </dgm:pt>
  </dgm:ptLst>
  <dgm:cxnLst>
    <dgm:cxn modelId="{F43FF122-D764-4D13-9DEC-681E6F266AF3}" srcId="{7AC9BF8E-6129-4782-83FC-A3B6EFA7B6C3}" destId="{7002756B-4FFE-418E-AAB7-3079AAF911F0}" srcOrd="3" destOrd="0" parTransId="{03586F20-C230-48BB-A7F0-6239A4CFB419}" sibTransId="{B239ADA0-6129-4982-B6EE-E3F849988B2F}"/>
    <dgm:cxn modelId="{F4A66439-051F-4C38-B133-666410BAA49B}" type="presOf" srcId="{9BE17954-EE49-4A85-BC96-A7F2EC243B89}" destId="{0F2EB925-0A30-41FA-81B7-C4B634E4819B}" srcOrd="0" destOrd="0" presId="urn:microsoft.com/office/officeart/2008/layout/AccentedPicture"/>
    <dgm:cxn modelId="{984DD4AD-0A46-464B-AD58-8D73F767F9EA}" srcId="{7AC9BF8E-6129-4782-83FC-A3B6EFA7B6C3}" destId="{BE4AC3AC-B99A-475C-88CC-F69F88A15530}" srcOrd="4" destOrd="0" parTransId="{3048D517-DE2E-4644-ACA2-1A4EE6B7A0B8}" sibTransId="{8A9978CC-5C80-4453-9172-335822D194CA}"/>
    <dgm:cxn modelId="{BCB3F48D-50CF-46C3-A73B-99367EFEB72B}" type="presOf" srcId="{35FA7A8C-B85F-4942-92E8-4EC059506593}" destId="{51A3AE4C-924F-4DCA-A1B8-EF25487D4519}" srcOrd="0" destOrd="0" presId="urn:microsoft.com/office/officeart/2008/layout/AccentedPicture"/>
    <dgm:cxn modelId="{D398EA37-8206-4FA1-881A-9FEAEA986DED}" srcId="{7AC9BF8E-6129-4782-83FC-A3B6EFA7B6C3}" destId="{35FA7A8C-B85F-4942-92E8-4EC059506593}" srcOrd="5" destOrd="0" parTransId="{D5EF8B10-AED9-44A3-A651-21CE60199A85}" sibTransId="{444AB33A-1CCB-4FB2-83CF-36C06C778B80}"/>
    <dgm:cxn modelId="{F7694DD1-0295-4A46-8883-D81B3AE31C72}" type="presOf" srcId="{7AC9BF8E-6129-4782-83FC-A3B6EFA7B6C3}" destId="{1A523C1A-9E66-4B9A-99CC-C723CA1D8043}" srcOrd="0" destOrd="0" presId="urn:microsoft.com/office/officeart/2008/layout/AccentedPicture"/>
    <dgm:cxn modelId="{BC008DCF-26A2-42E9-A50F-AA8ABA284E92}" type="presOf" srcId="{7002756B-4FFE-418E-AAB7-3079AAF911F0}" destId="{FD036E3E-EA19-40F3-B4AA-BFFBF0C3D190}" srcOrd="0" destOrd="0" presId="urn:microsoft.com/office/officeart/2008/layout/AccentedPicture"/>
    <dgm:cxn modelId="{DE9FF123-73B1-4FF1-AF36-4E68AE7FD95A}" type="presOf" srcId="{BE4AC3AC-B99A-475C-88CC-F69F88A15530}" destId="{BC012F9D-3E83-409D-8BC5-C46A7741A3CE}" srcOrd="0" destOrd="0" presId="urn:microsoft.com/office/officeart/2008/layout/AccentedPicture"/>
    <dgm:cxn modelId="{3B87B9D8-8E6E-4D56-A5D9-60584DDD6D4D}" type="presOf" srcId="{DA93368C-A458-41C1-9461-CB710A41E217}" destId="{A5FE68E2-871D-4753-99EF-7385F42A22D7}" srcOrd="0" destOrd="0" presId="urn:microsoft.com/office/officeart/2008/layout/AccentedPicture"/>
    <dgm:cxn modelId="{62FC28E4-9721-4091-9547-4C2AD45DD28C}" type="presOf" srcId="{5108B392-EA92-4F38-B613-D9CDDF762815}" destId="{35C65075-6913-4E1A-876D-F11FABBCE5C5}" srcOrd="0" destOrd="0" presId="urn:microsoft.com/office/officeart/2008/layout/AccentedPicture"/>
    <dgm:cxn modelId="{1D862DDB-6246-478D-A6BF-973E1A1DC05A}" type="presOf" srcId="{51218784-62CC-41A3-9C2C-49BF3150374A}" destId="{E9704E33-7694-4A67-A0CF-8A34E1223C17}" srcOrd="0" destOrd="0" presId="urn:microsoft.com/office/officeart/2008/layout/AccentedPicture"/>
    <dgm:cxn modelId="{DC42CCFE-6A7F-491C-A56C-27A564C13C80}" srcId="{7AC9BF8E-6129-4782-83FC-A3B6EFA7B6C3}" destId="{51218784-62CC-41A3-9C2C-49BF3150374A}" srcOrd="1" destOrd="0" parTransId="{556AD244-AC82-4071-A830-2D1C429A4472}" sibTransId="{09560AFE-2C90-45E1-A2CB-CE99232EDCAF}"/>
    <dgm:cxn modelId="{64523247-DB5D-463A-A9E6-1F7328DD65FC}" srcId="{7AC9BF8E-6129-4782-83FC-A3B6EFA7B6C3}" destId="{5108B392-EA92-4F38-B613-D9CDDF762815}" srcOrd="0" destOrd="0" parTransId="{4DEE372A-26A3-44CB-BA8F-E8135755B1CA}" sibTransId="{DA93368C-A458-41C1-9461-CB710A41E217}"/>
    <dgm:cxn modelId="{A526051B-A608-4877-965C-BA1B64A5AF76}" srcId="{7AC9BF8E-6129-4782-83FC-A3B6EFA7B6C3}" destId="{9BE17954-EE49-4A85-BC96-A7F2EC243B89}" srcOrd="2" destOrd="0" parTransId="{0968E240-53AD-42B8-94EF-3C178E7FA99B}" sibTransId="{09BA32FE-F1DB-467A-8D95-198AAA618961}"/>
    <dgm:cxn modelId="{6A15EA22-9482-476B-84A3-B864F415DE25}" type="presParOf" srcId="{1A523C1A-9E66-4B9A-99CC-C723CA1D8043}" destId="{A5FE68E2-871D-4753-99EF-7385F42A22D7}" srcOrd="0" destOrd="0" presId="urn:microsoft.com/office/officeart/2008/layout/AccentedPicture"/>
    <dgm:cxn modelId="{60FB4F72-8179-491F-BE6A-D624C0EAAE53}" type="presParOf" srcId="{1A523C1A-9E66-4B9A-99CC-C723CA1D8043}" destId="{35C65075-6913-4E1A-876D-F11FABBCE5C5}" srcOrd="1" destOrd="0" presId="urn:microsoft.com/office/officeart/2008/layout/AccentedPicture"/>
    <dgm:cxn modelId="{817A4310-061E-43D1-A395-4726865AABC0}" type="presParOf" srcId="{1A523C1A-9E66-4B9A-99CC-C723CA1D8043}" destId="{B10242CB-3278-43C8-8B6A-66FE6DDE58E4}" srcOrd="2" destOrd="0" presId="urn:microsoft.com/office/officeart/2008/layout/AccentedPicture"/>
    <dgm:cxn modelId="{47CA5B53-829E-4AA1-97B6-CED7634F2C6C}" type="presParOf" srcId="{B10242CB-3278-43C8-8B6A-66FE6DDE58E4}" destId="{647BFEDB-CE93-4200-8561-31575EEF8C7B}" srcOrd="0" destOrd="0" presId="urn:microsoft.com/office/officeart/2008/layout/AccentedPicture"/>
    <dgm:cxn modelId="{7009D754-210F-4DBB-A19E-77AB46C2BF0E}" type="presParOf" srcId="{647BFEDB-CE93-4200-8561-31575EEF8C7B}" destId="{1CEE972A-D1F6-4306-9432-637588A22FBA}" srcOrd="0" destOrd="0" presId="urn:microsoft.com/office/officeart/2008/layout/AccentedPicture"/>
    <dgm:cxn modelId="{FCA39317-69AC-408E-A726-539A4843D037}" type="presParOf" srcId="{647BFEDB-CE93-4200-8561-31575EEF8C7B}" destId="{4141B2A8-CC78-4DDA-BB08-5293D90DF493}" srcOrd="1" destOrd="0" presId="urn:microsoft.com/office/officeart/2008/layout/AccentedPicture"/>
    <dgm:cxn modelId="{C3E144E1-2430-4466-B2E8-B3AD20E4B373}" type="presParOf" srcId="{647BFEDB-CE93-4200-8561-31575EEF8C7B}" destId="{78704033-AAB3-43E7-B3D3-58B135C58D74}" srcOrd="2" destOrd="0" presId="urn:microsoft.com/office/officeart/2008/layout/AccentedPicture"/>
    <dgm:cxn modelId="{89D31213-3575-4E49-A51C-8CA4D26A12DD}" type="presParOf" srcId="{78704033-AAB3-43E7-B3D3-58B135C58D74}" destId="{E9704E33-7694-4A67-A0CF-8A34E1223C17}" srcOrd="0" destOrd="0" presId="urn:microsoft.com/office/officeart/2008/layout/AccentedPicture"/>
    <dgm:cxn modelId="{87CC903C-19F6-4A50-BDC9-70C7E087DE7A}" type="presParOf" srcId="{B10242CB-3278-43C8-8B6A-66FE6DDE58E4}" destId="{A5926569-125C-41CF-9020-6B8306064207}" srcOrd="1" destOrd="0" presId="urn:microsoft.com/office/officeart/2008/layout/AccentedPicture"/>
    <dgm:cxn modelId="{52D5FC6D-55F0-49BD-9AF5-6BABAB4773BF}" type="presParOf" srcId="{B10242CB-3278-43C8-8B6A-66FE6DDE58E4}" destId="{E4C01872-0DC4-45B4-A967-145A2278EF74}" srcOrd="2" destOrd="0" presId="urn:microsoft.com/office/officeart/2008/layout/AccentedPicture"/>
    <dgm:cxn modelId="{C1E2AC8F-DAD9-41FD-8EF5-5CC2EA6A8602}" type="presParOf" srcId="{E4C01872-0DC4-45B4-A967-145A2278EF74}" destId="{F7D705EB-BC44-4EE1-924D-3A3146EA38E7}" srcOrd="0" destOrd="0" presId="urn:microsoft.com/office/officeart/2008/layout/AccentedPicture"/>
    <dgm:cxn modelId="{B161CD9A-EF8F-4DB7-9442-E6ACDBA4C17D}" type="presParOf" srcId="{E4C01872-0DC4-45B4-A967-145A2278EF74}" destId="{8383EE42-008D-40B3-8FB7-FB70D4037C16}" srcOrd="1" destOrd="0" presId="urn:microsoft.com/office/officeart/2008/layout/AccentedPicture"/>
    <dgm:cxn modelId="{54E0839D-D3DC-45C6-8346-D0816537CC1D}" type="presParOf" srcId="{E4C01872-0DC4-45B4-A967-145A2278EF74}" destId="{82AA3E3C-7099-4559-9471-01092114F9BD}" srcOrd="2" destOrd="0" presId="urn:microsoft.com/office/officeart/2008/layout/AccentedPicture"/>
    <dgm:cxn modelId="{8DAED905-84B1-4BDD-9424-C016C9A7032C}" type="presParOf" srcId="{82AA3E3C-7099-4559-9471-01092114F9BD}" destId="{0F2EB925-0A30-41FA-81B7-C4B634E4819B}" srcOrd="0" destOrd="0" presId="urn:microsoft.com/office/officeart/2008/layout/AccentedPicture"/>
    <dgm:cxn modelId="{B19805C9-2023-4E20-BC38-BD033211B92B}" type="presParOf" srcId="{B10242CB-3278-43C8-8B6A-66FE6DDE58E4}" destId="{10BABD8F-0633-463B-849D-D259EA17E909}" srcOrd="3" destOrd="0" presId="urn:microsoft.com/office/officeart/2008/layout/AccentedPicture"/>
    <dgm:cxn modelId="{0FAF18AD-6019-4898-9270-56F6A9E15FBD}" type="presParOf" srcId="{B10242CB-3278-43C8-8B6A-66FE6DDE58E4}" destId="{9B3C1AFC-46F2-458C-8468-3A28322B3201}" srcOrd="4" destOrd="0" presId="urn:microsoft.com/office/officeart/2008/layout/AccentedPicture"/>
    <dgm:cxn modelId="{6DB7A56B-992E-4E39-A372-E1FD75053A9B}" type="presParOf" srcId="{9B3C1AFC-46F2-458C-8468-3A28322B3201}" destId="{F87184B6-03E7-48CD-B577-2154505780BA}" srcOrd="0" destOrd="0" presId="urn:microsoft.com/office/officeart/2008/layout/AccentedPicture"/>
    <dgm:cxn modelId="{C41AD802-7B44-4D33-9FAA-9C2E1FA55821}" type="presParOf" srcId="{9B3C1AFC-46F2-458C-8468-3A28322B3201}" destId="{928D6DB3-82DF-4252-BDA1-E6F31A064116}" srcOrd="1" destOrd="0" presId="urn:microsoft.com/office/officeart/2008/layout/AccentedPicture"/>
    <dgm:cxn modelId="{E7D4C3E1-C270-44C1-8249-AC6A6453673B}" type="presParOf" srcId="{9B3C1AFC-46F2-458C-8468-3A28322B3201}" destId="{24B1ADE0-C56F-4034-9332-E63B54938FA5}" srcOrd="2" destOrd="0" presId="urn:microsoft.com/office/officeart/2008/layout/AccentedPicture"/>
    <dgm:cxn modelId="{22695DF7-3A18-47EA-8E96-18CA6B5E08C6}" type="presParOf" srcId="{24B1ADE0-C56F-4034-9332-E63B54938FA5}" destId="{FD036E3E-EA19-40F3-B4AA-BFFBF0C3D190}" srcOrd="0" destOrd="0" presId="urn:microsoft.com/office/officeart/2008/layout/AccentedPicture"/>
    <dgm:cxn modelId="{229A28FC-C388-4176-95FC-AE11ED033F6A}" type="presParOf" srcId="{B10242CB-3278-43C8-8B6A-66FE6DDE58E4}" destId="{98B31962-8EBB-40CF-9615-CB4BD24E33D6}" srcOrd="5" destOrd="0" presId="urn:microsoft.com/office/officeart/2008/layout/AccentedPicture"/>
    <dgm:cxn modelId="{58ACFF47-8F4D-4AA0-A484-11BF1BD92E42}" type="presParOf" srcId="{B10242CB-3278-43C8-8B6A-66FE6DDE58E4}" destId="{A0C42365-9C8B-472E-90CC-A3686721DF51}" srcOrd="6" destOrd="0" presId="urn:microsoft.com/office/officeart/2008/layout/AccentedPicture"/>
    <dgm:cxn modelId="{258C64EF-74A1-4485-A797-744F131231EE}" type="presParOf" srcId="{A0C42365-9C8B-472E-90CC-A3686721DF51}" destId="{BB5D198D-F499-40D6-85D0-70D181C1E90B}" srcOrd="0" destOrd="0" presId="urn:microsoft.com/office/officeart/2008/layout/AccentedPicture"/>
    <dgm:cxn modelId="{382C1EEB-B557-46C0-998B-67C89FFB1BF2}" type="presParOf" srcId="{A0C42365-9C8B-472E-90CC-A3686721DF51}" destId="{56A36462-DAEC-401B-BAE5-862D64E70240}" srcOrd="1" destOrd="0" presId="urn:microsoft.com/office/officeart/2008/layout/AccentedPicture"/>
    <dgm:cxn modelId="{CCF0FD13-61B8-4A47-89FE-7A56FC25F0F6}" type="presParOf" srcId="{A0C42365-9C8B-472E-90CC-A3686721DF51}" destId="{89A143F9-6F74-4B84-9D02-D5C34D9BBDA8}" srcOrd="2" destOrd="0" presId="urn:microsoft.com/office/officeart/2008/layout/AccentedPicture"/>
    <dgm:cxn modelId="{155837A1-D41D-44CD-975E-0193DDB4A23F}" type="presParOf" srcId="{89A143F9-6F74-4B84-9D02-D5C34D9BBDA8}" destId="{BC012F9D-3E83-409D-8BC5-C46A7741A3CE}" srcOrd="0" destOrd="0" presId="urn:microsoft.com/office/officeart/2008/layout/AccentedPicture"/>
    <dgm:cxn modelId="{B18E5C74-6C21-48FB-903D-9C8B19F15382}" type="presParOf" srcId="{B10242CB-3278-43C8-8B6A-66FE6DDE58E4}" destId="{A19DC32D-331D-4C3B-A558-41F839CB96AF}" srcOrd="7" destOrd="0" presId="urn:microsoft.com/office/officeart/2008/layout/AccentedPicture"/>
    <dgm:cxn modelId="{0CE4DD13-1DA1-4E7B-9922-5A706F7B1165}" type="presParOf" srcId="{B10242CB-3278-43C8-8B6A-66FE6DDE58E4}" destId="{AA0D6EF2-1B17-4725-9B65-6BF4AC2B3556}" srcOrd="8" destOrd="0" presId="urn:microsoft.com/office/officeart/2008/layout/AccentedPicture"/>
    <dgm:cxn modelId="{D0C9EC15-B414-4EA6-9C80-BCF5BCFB93E0}" type="presParOf" srcId="{AA0D6EF2-1B17-4725-9B65-6BF4AC2B3556}" destId="{71883DC5-69F0-4492-9426-6F3779636EAC}" srcOrd="0" destOrd="0" presId="urn:microsoft.com/office/officeart/2008/layout/AccentedPicture"/>
    <dgm:cxn modelId="{D4ADAD0E-AA18-4861-959B-ADB192C30787}" type="presParOf" srcId="{AA0D6EF2-1B17-4725-9B65-6BF4AC2B3556}" destId="{4A6386F1-12ED-454E-B4AF-D21AF376BCC1}" srcOrd="1" destOrd="0" presId="urn:microsoft.com/office/officeart/2008/layout/AccentedPicture"/>
    <dgm:cxn modelId="{BDDA38AE-A7C9-4018-B90F-9632E6657C0A}" type="presParOf" srcId="{AA0D6EF2-1B17-4725-9B65-6BF4AC2B3556}" destId="{FCF517C1-E7A8-477B-87F4-EECDE7641E5B}" srcOrd="2" destOrd="0" presId="urn:microsoft.com/office/officeart/2008/layout/AccentedPicture"/>
    <dgm:cxn modelId="{5D1C0E9E-DB7C-48A1-8DC8-C5636B928414}" type="presParOf" srcId="{FCF517C1-E7A8-477B-87F4-EECDE7641E5B}" destId="{51A3AE4C-924F-4DCA-A1B8-EF25487D4519}" srcOrd="0" destOrd="0" presId="urn:microsoft.com/office/officeart/2008/layout/AccentedPicture"/>
    <dgm:cxn modelId="{6BF84741-B060-4422-9033-2AEE0917806F}" type="presParOf" srcId="{1A523C1A-9E66-4B9A-99CC-C723CA1D8043}" destId="{A62DAE7D-C8BE-4960-9522-7764181BA3E4}" srcOrd="3" destOrd="0" presId="urn:microsoft.com/office/officeart/2008/layout/AccentedPicture"/>
    <dgm:cxn modelId="{671EA0E6-D737-4BAE-93EF-C54F88EDE95C}" type="presParOf" srcId="{A62DAE7D-C8BE-4960-9522-7764181BA3E4}" destId="{3B764F00-2CFB-4E62-9F31-DC667048F630}" srcOrd="0" destOrd="0" presId="urn:microsoft.com/office/officeart/2008/layout/AccentedPicture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0DA87D9-D4B1-49B4-B993-A8717CCDA85A}" type="doc">
      <dgm:prSet loTypeId="urn:microsoft.com/office/officeart/2008/layout/BendingPictureCaptionList" loCatId="picture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s-CL"/>
        </a:p>
      </dgm:t>
    </dgm:pt>
    <dgm:pt modelId="{1C1AF937-C75B-4AFD-80B9-6DE99B247F59}">
      <dgm:prSet phldrT="[Texto]" custT="1"/>
      <dgm:spPr/>
      <dgm:t>
        <a:bodyPr/>
        <a:lstStyle/>
        <a:p>
          <a:pPr algn="ctr"/>
          <a:r>
            <a:rPr lang="es-CL" sz="2400" b="1" dirty="0" smtClean="0">
              <a:latin typeface="Microsoft PhagsPa" pitchFamily="34" charset="0"/>
            </a:rPr>
            <a:t>Pídelo por Transparencia  </a:t>
          </a:r>
          <a:endParaRPr lang="es-CL" sz="2400" b="1" dirty="0">
            <a:latin typeface="Microsoft PhagsPa" pitchFamily="34" charset="0"/>
          </a:endParaRPr>
        </a:p>
      </dgm:t>
    </dgm:pt>
    <dgm:pt modelId="{2F844880-410D-425E-B787-B40AE085F46B}" type="parTrans" cxnId="{40B08860-716E-41A9-80DE-144C0954D33D}">
      <dgm:prSet/>
      <dgm:spPr/>
      <dgm:t>
        <a:bodyPr/>
        <a:lstStyle/>
        <a:p>
          <a:endParaRPr lang="es-CL"/>
        </a:p>
      </dgm:t>
    </dgm:pt>
    <dgm:pt modelId="{61FB8095-7D0C-44CE-B2FB-4A12FD5D274C}" type="sibTrans" cxnId="{40B08860-716E-41A9-80DE-144C0954D33D}">
      <dgm:prSet/>
      <dgm:spPr/>
      <dgm:t>
        <a:bodyPr/>
        <a:lstStyle/>
        <a:p>
          <a:endParaRPr lang="es-CL"/>
        </a:p>
      </dgm:t>
    </dgm:pt>
    <dgm:pt modelId="{0A9A3715-A711-4AC4-8DC0-12C4D0ED0AF9}">
      <dgm:prSet phldrT="[Texto]" custT="1"/>
      <dgm:spPr/>
      <dgm:t>
        <a:bodyPr/>
        <a:lstStyle/>
        <a:p>
          <a:pPr algn="ctr"/>
          <a:r>
            <a:rPr lang="es-CL" sz="2400" b="1" dirty="0" smtClean="0">
              <a:latin typeface="Microsoft PhagsPa" pitchFamily="34" charset="0"/>
            </a:rPr>
            <a:t>Candidato Transparente</a:t>
          </a:r>
          <a:endParaRPr lang="es-CL" sz="2400" b="1" dirty="0">
            <a:latin typeface="Microsoft PhagsPa" pitchFamily="34" charset="0"/>
          </a:endParaRPr>
        </a:p>
      </dgm:t>
    </dgm:pt>
    <dgm:pt modelId="{68C18310-71DD-4D19-B2C5-BCDE99F066B2}" type="sibTrans" cxnId="{25BF61F8-938D-488B-A3A6-905D9D7D353F}">
      <dgm:prSet/>
      <dgm:spPr/>
      <dgm:t>
        <a:bodyPr/>
        <a:lstStyle/>
        <a:p>
          <a:endParaRPr lang="es-CL"/>
        </a:p>
      </dgm:t>
    </dgm:pt>
    <dgm:pt modelId="{F6F13063-4C40-4220-855A-ACA0E267ABB1}" type="parTrans" cxnId="{25BF61F8-938D-488B-A3A6-905D9D7D353F}">
      <dgm:prSet/>
      <dgm:spPr/>
      <dgm:t>
        <a:bodyPr/>
        <a:lstStyle/>
        <a:p>
          <a:endParaRPr lang="es-CL"/>
        </a:p>
      </dgm:t>
    </dgm:pt>
    <dgm:pt modelId="{6642CF97-079E-4F44-AE14-7C28E127837F}" type="pres">
      <dgm:prSet presAssocID="{10DA87D9-D4B1-49B4-B993-A8717CCDA85A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CL"/>
        </a:p>
      </dgm:t>
    </dgm:pt>
    <dgm:pt modelId="{41F53D90-C29F-401E-9B64-473D6C8EB84D}" type="pres">
      <dgm:prSet presAssocID="{1C1AF937-C75B-4AFD-80B9-6DE99B247F59}" presName="composite" presStyleCnt="0"/>
      <dgm:spPr/>
      <dgm:t>
        <a:bodyPr/>
        <a:lstStyle/>
        <a:p>
          <a:endParaRPr lang="es-CL"/>
        </a:p>
      </dgm:t>
    </dgm:pt>
    <dgm:pt modelId="{153E607B-9CA0-49E9-8173-DB2995BC7D69}" type="pres">
      <dgm:prSet presAssocID="{1C1AF937-C75B-4AFD-80B9-6DE99B247F59}" presName="rect1" presStyleLbl="bgImgPlace1" presStyleIdx="0" presStyleCnt="2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CL"/>
        </a:p>
      </dgm:t>
    </dgm:pt>
    <dgm:pt modelId="{951B0686-7035-4938-B7C8-A7A4909237E0}" type="pres">
      <dgm:prSet presAssocID="{1C1AF937-C75B-4AFD-80B9-6DE99B247F59}" presName="wedgeRectCallout1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A36791F7-18D8-4EEE-B705-2B51C0C9771F}" type="pres">
      <dgm:prSet presAssocID="{61FB8095-7D0C-44CE-B2FB-4A12FD5D274C}" presName="sibTrans" presStyleCnt="0"/>
      <dgm:spPr/>
      <dgm:t>
        <a:bodyPr/>
        <a:lstStyle/>
        <a:p>
          <a:endParaRPr lang="es-CL"/>
        </a:p>
      </dgm:t>
    </dgm:pt>
    <dgm:pt modelId="{752BEC99-F436-46CF-BB61-BD561071D52F}" type="pres">
      <dgm:prSet presAssocID="{0A9A3715-A711-4AC4-8DC0-12C4D0ED0AF9}" presName="composite" presStyleCnt="0"/>
      <dgm:spPr/>
      <dgm:t>
        <a:bodyPr/>
        <a:lstStyle/>
        <a:p>
          <a:endParaRPr lang="es-CL"/>
        </a:p>
      </dgm:t>
    </dgm:pt>
    <dgm:pt modelId="{D59125BB-CF71-4C20-8E85-AC51738821E2}" type="pres">
      <dgm:prSet presAssocID="{0A9A3715-A711-4AC4-8DC0-12C4D0ED0AF9}" presName="rect1" presStyleLbl="bgImgPlace1" presStyleIdx="1" presStyleCnt="2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5000" r="-55000"/>
          </a:stretch>
        </a:blipFill>
      </dgm:spPr>
      <dgm:t>
        <a:bodyPr/>
        <a:lstStyle/>
        <a:p>
          <a:endParaRPr lang="es-CL"/>
        </a:p>
      </dgm:t>
    </dgm:pt>
    <dgm:pt modelId="{C71C57D2-70F1-4319-90FF-5034BD0F987A}" type="pres">
      <dgm:prSet presAssocID="{0A9A3715-A711-4AC4-8DC0-12C4D0ED0AF9}" presName="wedgeRectCallout1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46C04515-61B7-499A-8C82-313CB12D0A91}" type="presOf" srcId="{0A9A3715-A711-4AC4-8DC0-12C4D0ED0AF9}" destId="{C71C57D2-70F1-4319-90FF-5034BD0F987A}" srcOrd="0" destOrd="0" presId="urn:microsoft.com/office/officeart/2008/layout/BendingPictureCaptionList"/>
    <dgm:cxn modelId="{0B35444C-EE12-4216-92E5-E808FBB09EAD}" type="presOf" srcId="{1C1AF937-C75B-4AFD-80B9-6DE99B247F59}" destId="{951B0686-7035-4938-B7C8-A7A4909237E0}" srcOrd="0" destOrd="0" presId="urn:microsoft.com/office/officeart/2008/layout/BendingPictureCaptionList"/>
    <dgm:cxn modelId="{EF03C2C2-D6DC-436A-B3A3-435A5256CDB3}" type="presOf" srcId="{10DA87D9-D4B1-49B4-B993-A8717CCDA85A}" destId="{6642CF97-079E-4F44-AE14-7C28E127837F}" srcOrd="0" destOrd="0" presId="urn:microsoft.com/office/officeart/2008/layout/BendingPictureCaptionList"/>
    <dgm:cxn modelId="{25BF61F8-938D-488B-A3A6-905D9D7D353F}" srcId="{10DA87D9-D4B1-49B4-B993-A8717CCDA85A}" destId="{0A9A3715-A711-4AC4-8DC0-12C4D0ED0AF9}" srcOrd="1" destOrd="0" parTransId="{F6F13063-4C40-4220-855A-ACA0E267ABB1}" sibTransId="{68C18310-71DD-4D19-B2C5-BCDE99F066B2}"/>
    <dgm:cxn modelId="{40B08860-716E-41A9-80DE-144C0954D33D}" srcId="{10DA87D9-D4B1-49B4-B993-A8717CCDA85A}" destId="{1C1AF937-C75B-4AFD-80B9-6DE99B247F59}" srcOrd="0" destOrd="0" parTransId="{2F844880-410D-425E-B787-B40AE085F46B}" sibTransId="{61FB8095-7D0C-44CE-B2FB-4A12FD5D274C}"/>
    <dgm:cxn modelId="{4A85A9BF-0325-4299-8706-0A2377A6FEE8}" type="presParOf" srcId="{6642CF97-079E-4F44-AE14-7C28E127837F}" destId="{41F53D90-C29F-401E-9B64-473D6C8EB84D}" srcOrd="0" destOrd="0" presId="urn:microsoft.com/office/officeart/2008/layout/BendingPictureCaptionList"/>
    <dgm:cxn modelId="{662A8E64-2746-48BE-9BCE-6EBD442B0A09}" type="presParOf" srcId="{41F53D90-C29F-401E-9B64-473D6C8EB84D}" destId="{153E607B-9CA0-49E9-8173-DB2995BC7D69}" srcOrd="0" destOrd="0" presId="urn:microsoft.com/office/officeart/2008/layout/BendingPictureCaptionList"/>
    <dgm:cxn modelId="{0F0E43B4-E484-43E0-9C67-4535D13AE0AC}" type="presParOf" srcId="{41F53D90-C29F-401E-9B64-473D6C8EB84D}" destId="{951B0686-7035-4938-B7C8-A7A4909237E0}" srcOrd="1" destOrd="0" presId="urn:microsoft.com/office/officeart/2008/layout/BendingPictureCaptionList"/>
    <dgm:cxn modelId="{801F1392-26E9-4885-9521-BAC639013A2A}" type="presParOf" srcId="{6642CF97-079E-4F44-AE14-7C28E127837F}" destId="{A36791F7-18D8-4EEE-B705-2B51C0C9771F}" srcOrd="1" destOrd="0" presId="urn:microsoft.com/office/officeart/2008/layout/BendingPictureCaptionList"/>
    <dgm:cxn modelId="{83CAAC7D-0ACB-4468-B828-792611B5169C}" type="presParOf" srcId="{6642CF97-079E-4F44-AE14-7C28E127837F}" destId="{752BEC99-F436-46CF-BB61-BD561071D52F}" srcOrd="2" destOrd="0" presId="urn:microsoft.com/office/officeart/2008/layout/BendingPictureCaptionList"/>
    <dgm:cxn modelId="{08844551-D65C-49DE-8CDC-6B5FFBD4B7BD}" type="presParOf" srcId="{752BEC99-F436-46CF-BB61-BD561071D52F}" destId="{D59125BB-CF71-4C20-8E85-AC51738821E2}" srcOrd="0" destOrd="0" presId="urn:microsoft.com/office/officeart/2008/layout/BendingPictureCaptionList"/>
    <dgm:cxn modelId="{368470D8-B5D7-49C5-B4C7-2E0FA8F83A95}" type="presParOf" srcId="{752BEC99-F436-46CF-BB61-BD561071D52F}" destId="{C71C57D2-70F1-4319-90FF-5034BD0F987A}" srcOrd="1" destOrd="0" presId="urn:microsoft.com/office/officeart/2008/layout/BendingPictureCaptionLis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72371E1-065B-4B10-AA25-5037596AC32D}" type="doc">
      <dgm:prSet loTypeId="urn:microsoft.com/office/officeart/2008/layout/CircularPictureCallout" loCatId="picture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s-CL"/>
        </a:p>
      </dgm:t>
    </dgm:pt>
    <dgm:pt modelId="{83CFE86A-F4AF-4E26-ACF1-6C8E7627941E}">
      <dgm:prSet custT="1"/>
      <dgm:spPr/>
      <dgm:t>
        <a:bodyPr/>
        <a:lstStyle/>
        <a:p>
          <a:r>
            <a:rPr lang="es-CL" sz="3600" b="1" kern="1200" spc="-150" dirty="0" smtClean="0">
              <a:solidFill>
                <a:srgbClr val="0070C0"/>
              </a:solidFill>
              <a:latin typeface="Berlin Sans FB Demi" pitchFamily="34" charset="0"/>
              <a:ea typeface="+mn-ea"/>
              <a:cs typeface="Segoe UI" pitchFamily="34" charset="0"/>
            </a:rPr>
            <a:t>Incidencia Legislativa</a:t>
          </a:r>
          <a:endParaRPr lang="es-CL" sz="3600" b="1" kern="1200" spc="-150" dirty="0">
            <a:solidFill>
              <a:srgbClr val="0070C0"/>
            </a:solidFill>
            <a:latin typeface="Berlin Sans FB Demi" pitchFamily="34" charset="0"/>
            <a:ea typeface="+mn-ea"/>
            <a:cs typeface="Segoe UI" pitchFamily="34" charset="0"/>
          </a:endParaRPr>
        </a:p>
      </dgm:t>
    </dgm:pt>
    <dgm:pt modelId="{2F719578-3434-4656-8EC8-5071904E9F62}" type="parTrans" cxnId="{31338CDE-2A98-47F5-BEBC-37501B3FA2A3}">
      <dgm:prSet/>
      <dgm:spPr/>
      <dgm:t>
        <a:bodyPr/>
        <a:lstStyle/>
        <a:p>
          <a:endParaRPr lang="es-CL"/>
        </a:p>
      </dgm:t>
    </dgm:pt>
    <dgm:pt modelId="{2ACCA164-69CA-4C63-A591-5A2AC8915A2E}" type="sibTrans" cxnId="{31338CDE-2A98-47F5-BEBC-37501B3FA2A3}">
      <dgm:prSet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CL"/>
        </a:p>
      </dgm:t>
    </dgm:pt>
    <dgm:pt modelId="{4AAA1585-4D43-4957-9502-80C7A7B6B0C9}">
      <dgm:prSet phldrT="[Texto]" custT="1"/>
      <dgm:spPr/>
      <dgm:t>
        <a:bodyPr lIns="0" rIns="0"/>
        <a:lstStyle/>
        <a:p>
          <a:r>
            <a:rPr lang="es-CL" sz="2400" b="1" dirty="0" smtClean="0">
              <a:solidFill>
                <a:srgbClr val="0070C0"/>
              </a:solidFill>
              <a:latin typeface="Microsoft PhagsPa" pitchFamily="34" charset="0"/>
            </a:rPr>
            <a:t>Transparencia</a:t>
          </a:r>
          <a:endParaRPr lang="es-CL" sz="2400" b="1" dirty="0">
            <a:solidFill>
              <a:srgbClr val="0070C0"/>
            </a:solidFill>
            <a:latin typeface="Microsoft PhagsPa" pitchFamily="34" charset="0"/>
          </a:endParaRPr>
        </a:p>
      </dgm:t>
    </dgm:pt>
    <dgm:pt modelId="{35517DB7-9170-4FC3-8D6A-D07E845541C7}" type="parTrans" cxnId="{090165C1-03C2-4C06-8DE4-A5D5F7032C3D}">
      <dgm:prSet/>
      <dgm:spPr/>
      <dgm:t>
        <a:bodyPr/>
        <a:lstStyle/>
        <a:p>
          <a:endParaRPr lang="es-CL"/>
        </a:p>
      </dgm:t>
    </dgm:pt>
    <dgm:pt modelId="{D16E9CB2-78AA-4F5E-95D8-8619AD092778}" type="sibTrans" cxnId="{090165C1-03C2-4C06-8DE4-A5D5F7032C3D}">
      <dgm:prSet/>
      <dgm:spPr/>
      <dgm:t>
        <a:bodyPr/>
        <a:lstStyle/>
        <a:p>
          <a:endParaRPr lang="es-CL"/>
        </a:p>
      </dgm:t>
    </dgm:pt>
    <dgm:pt modelId="{A3D2A790-41D4-4F5F-919B-26F733414C23}">
      <dgm:prSet phldrT="[Texto]" custT="1"/>
      <dgm:spPr/>
      <dgm:t>
        <a:bodyPr/>
        <a:lstStyle/>
        <a:p>
          <a:r>
            <a:rPr lang="es-CL" sz="2400" b="1" dirty="0" smtClean="0">
              <a:solidFill>
                <a:schemeClr val="accent4">
                  <a:lumMod val="75000"/>
                </a:schemeClr>
              </a:solidFill>
              <a:latin typeface="Microsoft PhagsPa" pitchFamily="34" charset="0"/>
            </a:rPr>
            <a:t>Probidad</a:t>
          </a:r>
          <a:endParaRPr lang="es-CL" sz="2400" b="1" dirty="0">
            <a:solidFill>
              <a:schemeClr val="accent4">
                <a:lumMod val="75000"/>
              </a:schemeClr>
            </a:solidFill>
            <a:latin typeface="Microsoft PhagsPa" pitchFamily="34" charset="0"/>
          </a:endParaRPr>
        </a:p>
      </dgm:t>
    </dgm:pt>
    <dgm:pt modelId="{B5EEA557-4F2A-4235-9D13-BA85CC5CB5C4}" type="parTrans" cxnId="{C69BF8AF-0619-469B-8642-3DE401409F50}">
      <dgm:prSet/>
      <dgm:spPr/>
      <dgm:t>
        <a:bodyPr/>
        <a:lstStyle/>
        <a:p>
          <a:endParaRPr lang="es-CL"/>
        </a:p>
      </dgm:t>
    </dgm:pt>
    <dgm:pt modelId="{77E9E67A-F836-46AC-B182-D3DCBE027B5C}" type="sibTrans" cxnId="{C69BF8AF-0619-469B-8642-3DE401409F50}">
      <dgm:prSet/>
      <dgm:spPr/>
      <dgm:t>
        <a:bodyPr/>
        <a:lstStyle/>
        <a:p>
          <a:endParaRPr lang="es-CL"/>
        </a:p>
      </dgm:t>
    </dgm:pt>
    <dgm:pt modelId="{F3D0992E-1A45-4955-9640-57BAC2025947}">
      <dgm:prSet phldrT="[Texto]" custT="1"/>
      <dgm:spPr/>
      <dgm:t>
        <a:bodyPr/>
        <a:lstStyle/>
        <a:p>
          <a:r>
            <a:rPr lang="es-CL" sz="2400" b="1" dirty="0" smtClean="0">
              <a:solidFill>
                <a:schemeClr val="accent3">
                  <a:lumMod val="50000"/>
                </a:schemeClr>
              </a:solidFill>
              <a:latin typeface="Microsoft PhagsPa" pitchFamily="34" charset="0"/>
            </a:rPr>
            <a:t>Protección de Datos Personales</a:t>
          </a:r>
          <a:endParaRPr lang="es-CL" sz="2400" b="1" dirty="0">
            <a:solidFill>
              <a:schemeClr val="accent3">
                <a:lumMod val="50000"/>
              </a:schemeClr>
            </a:solidFill>
            <a:latin typeface="Microsoft PhagsPa" pitchFamily="34" charset="0"/>
          </a:endParaRPr>
        </a:p>
      </dgm:t>
    </dgm:pt>
    <dgm:pt modelId="{5314F206-FB39-4594-82F2-3D6E7519274C}" type="parTrans" cxnId="{045CDA36-7D6D-4E28-8F94-6E713BAC8A20}">
      <dgm:prSet/>
      <dgm:spPr/>
      <dgm:t>
        <a:bodyPr/>
        <a:lstStyle/>
        <a:p>
          <a:endParaRPr lang="es-CL"/>
        </a:p>
      </dgm:t>
    </dgm:pt>
    <dgm:pt modelId="{BB242C65-C960-4E03-A2A9-08FE5800439B}" type="sibTrans" cxnId="{045CDA36-7D6D-4E28-8F94-6E713BAC8A20}">
      <dgm:prSet/>
      <dgm:spPr/>
      <dgm:t>
        <a:bodyPr/>
        <a:lstStyle/>
        <a:p>
          <a:endParaRPr lang="es-CL"/>
        </a:p>
      </dgm:t>
    </dgm:pt>
    <dgm:pt modelId="{A69BA4CD-3C5A-4310-B9E7-AF0F77B3756C}" type="pres">
      <dgm:prSet presAssocID="{A72371E1-065B-4B10-AA25-5037596AC32D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s-CL"/>
        </a:p>
      </dgm:t>
    </dgm:pt>
    <dgm:pt modelId="{82745601-C1F9-4861-A360-E18D7ADC7AEF}" type="pres">
      <dgm:prSet presAssocID="{A72371E1-065B-4B10-AA25-5037596AC32D}" presName="Name1" presStyleCnt="0"/>
      <dgm:spPr/>
    </dgm:pt>
    <dgm:pt modelId="{87E0D412-AA27-4823-B402-A303B11336C3}" type="pres">
      <dgm:prSet presAssocID="{2ACCA164-69CA-4C63-A591-5A2AC8915A2E}" presName="picture_1" presStyleCnt="0"/>
      <dgm:spPr/>
    </dgm:pt>
    <dgm:pt modelId="{1898BD82-3751-4711-AAB8-8D6669392F04}" type="pres">
      <dgm:prSet presAssocID="{2ACCA164-69CA-4C63-A591-5A2AC8915A2E}" presName="pictureRepeatNode" presStyleLbl="alignImgPlace1" presStyleIdx="0" presStyleCnt="4" custScaleX="56071" custScaleY="54099" custLinFactNeighborX="1171" custLinFactNeighborY="-4818"/>
      <dgm:spPr/>
      <dgm:t>
        <a:bodyPr/>
        <a:lstStyle/>
        <a:p>
          <a:endParaRPr lang="es-CL"/>
        </a:p>
      </dgm:t>
    </dgm:pt>
    <dgm:pt modelId="{374BA6B0-AC98-4D6E-BE38-49251E682D10}" type="pres">
      <dgm:prSet presAssocID="{83CFE86A-F4AF-4E26-ACF1-6C8E7627941E}" presName="text_1" presStyleLbl="node1" presStyleIdx="0" presStyleCnt="0" custLinFactNeighborX="-830" custLinFactNeighborY="18525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6C1356D6-97C3-43BB-AF41-6C288176C6C2}" type="pres">
      <dgm:prSet presAssocID="{D16E9CB2-78AA-4F5E-95D8-8619AD092778}" presName="picture_2" presStyleCnt="0"/>
      <dgm:spPr/>
    </dgm:pt>
    <dgm:pt modelId="{1D6223EB-936E-4551-BC25-59EDD1C16156}" type="pres">
      <dgm:prSet presAssocID="{D16E9CB2-78AA-4F5E-95D8-8619AD092778}" presName="pictureRepeatNode" presStyleLbl="alignImgPlace1" presStyleIdx="1" presStyleCnt="4" custLinFactNeighborX="-76738" custLinFactNeighborY="-941"/>
      <dgm:spPr/>
      <dgm:t>
        <a:bodyPr/>
        <a:lstStyle/>
        <a:p>
          <a:endParaRPr lang="es-CL"/>
        </a:p>
      </dgm:t>
    </dgm:pt>
    <dgm:pt modelId="{E5C6CADF-88DB-4CAA-9362-7F5FEF8CA8B0}" type="pres">
      <dgm:prSet presAssocID="{4AAA1585-4D43-4957-9502-80C7A7B6B0C9}" presName="line_2" presStyleLbl="parChTrans1D1" presStyleIdx="0" presStyleCnt="3" custFlipVert="1" custSzY="54120" custScaleX="83395"/>
      <dgm:spPr/>
    </dgm:pt>
    <dgm:pt modelId="{9FD038DB-36B2-4950-9826-9D74C08DEA10}" type="pres">
      <dgm:prSet presAssocID="{4AAA1585-4D43-4957-9502-80C7A7B6B0C9}" presName="textparent_2" presStyleLbl="node1" presStyleIdx="0" presStyleCnt="0"/>
      <dgm:spPr/>
    </dgm:pt>
    <dgm:pt modelId="{123489F1-56D6-4687-AD8D-896E850AA291}" type="pres">
      <dgm:prSet presAssocID="{4AAA1585-4D43-4957-9502-80C7A7B6B0C9}" presName="text_2" presStyleLbl="revTx" presStyleIdx="0" presStyleCnt="3" custScaleX="2000000" custScaleY="103765" custLinFactX="-300000" custLinFactNeighborX="-368006" custLinFactNeighborY="941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E45DC4AE-66AB-4A1C-A6EA-C0E5E80E0E5A}" type="pres">
      <dgm:prSet presAssocID="{77E9E67A-F836-46AC-B182-D3DCBE027B5C}" presName="picture_3" presStyleCnt="0"/>
      <dgm:spPr/>
    </dgm:pt>
    <dgm:pt modelId="{578B7BBB-B2AF-41CC-8DA4-2446BDC0CC00}" type="pres">
      <dgm:prSet presAssocID="{77E9E67A-F836-46AC-B182-D3DCBE027B5C}" presName="pictureRepeatNode" presStyleLbl="alignImgPlace1" presStyleIdx="2" presStyleCnt="4" custLinFactNeighborX="-98645" custLinFactNeighborY="-1831"/>
      <dgm:spPr/>
      <dgm:t>
        <a:bodyPr/>
        <a:lstStyle/>
        <a:p>
          <a:endParaRPr lang="es-CL"/>
        </a:p>
      </dgm:t>
    </dgm:pt>
    <dgm:pt modelId="{4774DAB2-D1E8-4679-BE35-2E48AFD2F52F}" type="pres">
      <dgm:prSet presAssocID="{A3D2A790-41D4-4F5F-919B-26F733414C23}" presName="line_3" presStyleLbl="parChTrans1D1" presStyleIdx="1" presStyleCnt="3" custFlipVert="1" custSzY="45720" custScaleX="66481"/>
      <dgm:spPr/>
    </dgm:pt>
    <dgm:pt modelId="{448C216E-C077-4115-9901-35443F9DDCBF}" type="pres">
      <dgm:prSet presAssocID="{A3D2A790-41D4-4F5F-919B-26F733414C23}" presName="textparent_3" presStyleLbl="node1" presStyleIdx="0" presStyleCnt="0"/>
      <dgm:spPr/>
    </dgm:pt>
    <dgm:pt modelId="{1C4C8184-288F-4BD6-9296-5876CA04A735}" type="pres">
      <dgm:prSet presAssocID="{A3D2A790-41D4-4F5F-919B-26F733414C23}" presName="text_3" presStyleLbl="revTx" presStyleIdx="1" presStyleCnt="3" custLinFactNeighborX="-96666" custLinFactNeighborY="2386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13ABDA2B-3BFC-4A71-9757-B30FF5927666}" type="pres">
      <dgm:prSet presAssocID="{BB242C65-C960-4E03-A2A9-08FE5800439B}" presName="picture_4" presStyleCnt="0"/>
      <dgm:spPr/>
    </dgm:pt>
    <dgm:pt modelId="{5FB25665-95CA-4276-B5B0-238506419C52}" type="pres">
      <dgm:prSet presAssocID="{BB242C65-C960-4E03-A2A9-08FE5800439B}" presName="pictureRepeatNode" presStyleLbl="alignImgPlace1" presStyleIdx="3" presStyleCnt="4" custLinFactNeighborX="-95625" custLinFactNeighborY="-2902"/>
      <dgm:spPr/>
      <dgm:t>
        <a:bodyPr/>
        <a:lstStyle/>
        <a:p>
          <a:endParaRPr lang="es-CL"/>
        </a:p>
      </dgm:t>
    </dgm:pt>
    <dgm:pt modelId="{E9F9289C-97A5-4DE6-BC31-ACA03B3C22AF}" type="pres">
      <dgm:prSet presAssocID="{F3D0992E-1A45-4955-9640-57BAC2025947}" presName="line_4" presStyleLbl="parChTrans1D1" presStyleIdx="2" presStyleCnt="3" custSzY="45720" custScaleX="72843"/>
      <dgm:spPr/>
    </dgm:pt>
    <dgm:pt modelId="{F5EAF612-5A43-4A8E-8B97-445B051D917F}" type="pres">
      <dgm:prSet presAssocID="{F3D0992E-1A45-4955-9640-57BAC2025947}" presName="textparent_4" presStyleLbl="node1" presStyleIdx="0" presStyleCnt="0"/>
      <dgm:spPr/>
    </dgm:pt>
    <dgm:pt modelId="{6BFFB595-6F50-41B4-9174-3EAEE8B2B460}" type="pres">
      <dgm:prSet presAssocID="{F3D0992E-1A45-4955-9640-57BAC2025947}" presName="text_4" presStyleLbl="revTx" presStyleIdx="2" presStyleCnt="3" custLinFactNeighborX="-79520" custLinFactNeighborY="3788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090165C1-03C2-4C06-8DE4-A5D5F7032C3D}" srcId="{A72371E1-065B-4B10-AA25-5037596AC32D}" destId="{4AAA1585-4D43-4957-9502-80C7A7B6B0C9}" srcOrd="1" destOrd="0" parTransId="{35517DB7-9170-4FC3-8D6A-D07E845541C7}" sibTransId="{D16E9CB2-78AA-4F5E-95D8-8619AD092778}"/>
    <dgm:cxn modelId="{7FEA63AE-79DB-4951-AFA4-78E60C21216B}" type="presOf" srcId="{2ACCA164-69CA-4C63-A591-5A2AC8915A2E}" destId="{1898BD82-3751-4711-AAB8-8D6669392F04}" srcOrd="0" destOrd="0" presId="urn:microsoft.com/office/officeart/2008/layout/CircularPictureCallout"/>
    <dgm:cxn modelId="{CB8CA05C-7B56-44C1-A7FB-687B5F5CB1F4}" type="presOf" srcId="{D16E9CB2-78AA-4F5E-95D8-8619AD092778}" destId="{1D6223EB-936E-4551-BC25-59EDD1C16156}" srcOrd="0" destOrd="0" presId="urn:microsoft.com/office/officeart/2008/layout/CircularPictureCallout"/>
    <dgm:cxn modelId="{94FF615F-0B74-4BD2-8BAF-49728CD21121}" type="presOf" srcId="{F3D0992E-1A45-4955-9640-57BAC2025947}" destId="{6BFFB595-6F50-41B4-9174-3EAEE8B2B460}" srcOrd="0" destOrd="0" presId="urn:microsoft.com/office/officeart/2008/layout/CircularPictureCallout"/>
    <dgm:cxn modelId="{31338CDE-2A98-47F5-BEBC-37501B3FA2A3}" srcId="{A72371E1-065B-4B10-AA25-5037596AC32D}" destId="{83CFE86A-F4AF-4E26-ACF1-6C8E7627941E}" srcOrd="0" destOrd="0" parTransId="{2F719578-3434-4656-8EC8-5071904E9F62}" sibTransId="{2ACCA164-69CA-4C63-A591-5A2AC8915A2E}"/>
    <dgm:cxn modelId="{D1CE57A6-1379-4785-9E89-F8B6F6A74DFB}" type="presOf" srcId="{77E9E67A-F836-46AC-B182-D3DCBE027B5C}" destId="{578B7BBB-B2AF-41CC-8DA4-2446BDC0CC00}" srcOrd="0" destOrd="0" presId="urn:microsoft.com/office/officeart/2008/layout/CircularPictureCallout"/>
    <dgm:cxn modelId="{E8680C8D-5EDA-4BF2-AFCE-6CDDDDF6106B}" type="presOf" srcId="{BB242C65-C960-4E03-A2A9-08FE5800439B}" destId="{5FB25665-95CA-4276-B5B0-238506419C52}" srcOrd="0" destOrd="0" presId="urn:microsoft.com/office/officeart/2008/layout/CircularPictureCallout"/>
    <dgm:cxn modelId="{C7B1EB70-544F-4ED7-9F7A-260DE3320C7C}" type="presOf" srcId="{A72371E1-065B-4B10-AA25-5037596AC32D}" destId="{A69BA4CD-3C5A-4310-B9E7-AF0F77B3756C}" srcOrd="0" destOrd="0" presId="urn:microsoft.com/office/officeart/2008/layout/CircularPictureCallout"/>
    <dgm:cxn modelId="{045CDA36-7D6D-4E28-8F94-6E713BAC8A20}" srcId="{A72371E1-065B-4B10-AA25-5037596AC32D}" destId="{F3D0992E-1A45-4955-9640-57BAC2025947}" srcOrd="3" destOrd="0" parTransId="{5314F206-FB39-4594-82F2-3D6E7519274C}" sibTransId="{BB242C65-C960-4E03-A2A9-08FE5800439B}"/>
    <dgm:cxn modelId="{A43228C9-73F4-4757-9359-50D98488C2C7}" type="presOf" srcId="{A3D2A790-41D4-4F5F-919B-26F733414C23}" destId="{1C4C8184-288F-4BD6-9296-5876CA04A735}" srcOrd="0" destOrd="0" presId="urn:microsoft.com/office/officeart/2008/layout/CircularPictureCallout"/>
    <dgm:cxn modelId="{C69BF8AF-0619-469B-8642-3DE401409F50}" srcId="{A72371E1-065B-4B10-AA25-5037596AC32D}" destId="{A3D2A790-41D4-4F5F-919B-26F733414C23}" srcOrd="2" destOrd="0" parTransId="{B5EEA557-4F2A-4235-9D13-BA85CC5CB5C4}" sibTransId="{77E9E67A-F836-46AC-B182-D3DCBE027B5C}"/>
    <dgm:cxn modelId="{3B4339C4-24CF-4B6D-91AA-95D537C90F87}" type="presOf" srcId="{83CFE86A-F4AF-4E26-ACF1-6C8E7627941E}" destId="{374BA6B0-AC98-4D6E-BE38-49251E682D10}" srcOrd="0" destOrd="0" presId="urn:microsoft.com/office/officeart/2008/layout/CircularPictureCallout"/>
    <dgm:cxn modelId="{9B11B02B-A367-4D67-8A37-0A3210C19179}" type="presOf" srcId="{4AAA1585-4D43-4957-9502-80C7A7B6B0C9}" destId="{123489F1-56D6-4687-AD8D-896E850AA291}" srcOrd="0" destOrd="0" presId="urn:microsoft.com/office/officeart/2008/layout/CircularPictureCallout"/>
    <dgm:cxn modelId="{9114D3C5-6F83-49B8-B424-3FCAC25A9C40}" type="presParOf" srcId="{A69BA4CD-3C5A-4310-B9E7-AF0F77B3756C}" destId="{82745601-C1F9-4861-A360-E18D7ADC7AEF}" srcOrd="0" destOrd="0" presId="urn:microsoft.com/office/officeart/2008/layout/CircularPictureCallout"/>
    <dgm:cxn modelId="{FC1095F5-FADD-4038-B7E7-A428E473DEFD}" type="presParOf" srcId="{82745601-C1F9-4861-A360-E18D7ADC7AEF}" destId="{87E0D412-AA27-4823-B402-A303B11336C3}" srcOrd="0" destOrd="0" presId="urn:microsoft.com/office/officeart/2008/layout/CircularPictureCallout"/>
    <dgm:cxn modelId="{1FEB3FC3-FD89-427A-B5EE-C706C99D3FDA}" type="presParOf" srcId="{87E0D412-AA27-4823-B402-A303B11336C3}" destId="{1898BD82-3751-4711-AAB8-8D6669392F04}" srcOrd="0" destOrd="0" presId="urn:microsoft.com/office/officeart/2008/layout/CircularPictureCallout"/>
    <dgm:cxn modelId="{D3A8C0FF-2C6C-4655-902E-B9D035ECB373}" type="presParOf" srcId="{82745601-C1F9-4861-A360-E18D7ADC7AEF}" destId="{374BA6B0-AC98-4D6E-BE38-49251E682D10}" srcOrd="1" destOrd="0" presId="urn:microsoft.com/office/officeart/2008/layout/CircularPictureCallout"/>
    <dgm:cxn modelId="{165CBD39-8A13-45F4-9CB2-1454D78DF6AF}" type="presParOf" srcId="{82745601-C1F9-4861-A360-E18D7ADC7AEF}" destId="{6C1356D6-97C3-43BB-AF41-6C288176C6C2}" srcOrd="2" destOrd="0" presId="urn:microsoft.com/office/officeart/2008/layout/CircularPictureCallout"/>
    <dgm:cxn modelId="{AAD26C22-70A6-4AAF-BB6A-20BF35C432BD}" type="presParOf" srcId="{6C1356D6-97C3-43BB-AF41-6C288176C6C2}" destId="{1D6223EB-936E-4551-BC25-59EDD1C16156}" srcOrd="0" destOrd="0" presId="urn:microsoft.com/office/officeart/2008/layout/CircularPictureCallout"/>
    <dgm:cxn modelId="{B26E9139-DBB4-4852-BC1D-6FED8D0D6678}" type="presParOf" srcId="{82745601-C1F9-4861-A360-E18D7ADC7AEF}" destId="{E5C6CADF-88DB-4CAA-9362-7F5FEF8CA8B0}" srcOrd="3" destOrd="0" presId="urn:microsoft.com/office/officeart/2008/layout/CircularPictureCallout"/>
    <dgm:cxn modelId="{735872EF-8FEC-472D-BB98-DDB99BE9E898}" type="presParOf" srcId="{82745601-C1F9-4861-A360-E18D7ADC7AEF}" destId="{9FD038DB-36B2-4950-9826-9D74C08DEA10}" srcOrd="4" destOrd="0" presId="urn:microsoft.com/office/officeart/2008/layout/CircularPictureCallout"/>
    <dgm:cxn modelId="{29AAF83D-4591-4395-B505-731C2E677790}" type="presParOf" srcId="{9FD038DB-36B2-4950-9826-9D74C08DEA10}" destId="{123489F1-56D6-4687-AD8D-896E850AA291}" srcOrd="0" destOrd="0" presId="urn:microsoft.com/office/officeart/2008/layout/CircularPictureCallout"/>
    <dgm:cxn modelId="{6C6309AC-1654-47E5-97E5-B9F6E74FBE24}" type="presParOf" srcId="{82745601-C1F9-4861-A360-E18D7ADC7AEF}" destId="{E45DC4AE-66AB-4A1C-A6EA-C0E5E80E0E5A}" srcOrd="5" destOrd="0" presId="urn:microsoft.com/office/officeart/2008/layout/CircularPictureCallout"/>
    <dgm:cxn modelId="{B1950F92-C770-4553-9FCD-74D6CB97CF4C}" type="presParOf" srcId="{E45DC4AE-66AB-4A1C-A6EA-C0E5E80E0E5A}" destId="{578B7BBB-B2AF-41CC-8DA4-2446BDC0CC00}" srcOrd="0" destOrd="0" presId="urn:microsoft.com/office/officeart/2008/layout/CircularPictureCallout"/>
    <dgm:cxn modelId="{FB0251B7-62AD-47CE-9679-A7AFEF60E9D2}" type="presParOf" srcId="{82745601-C1F9-4861-A360-E18D7ADC7AEF}" destId="{4774DAB2-D1E8-4679-BE35-2E48AFD2F52F}" srcOrd="6" destOrd="0" presId="urn:microsoft.com/office/officeart/2008/layout/CircularPictureCallout"/>
    <dgm:cxn modelId="{96BA81CE-C875-4C20-BA56-BAE7398DA0E9}" type="presParOf" srcId="{82745601-C1F9-4861-A360-E18D7ADC7AEF}" destId="{448C216E-C077-4115-9901-35443F9DDCBF}" srcOrd="7" destOrd="0" presId="urn:microsoft.com/office/officeart/2008/layout/CircularPictureCallout"/>
    <dgm:cxn modelId="{65E96242-6238-45CC-8E9F-117094644C6A}" type="presParOf" srcId="{448C216E-C077-4115-9901-35443F9DDCBF}" destId="{1C4C8184-288F-4BD6-9296-5876CA04A735}" srcOrd="0" destOrd="0" presId="urn:microsoft.com/office/officeart/2008/layout/CircularPictureCallout"/>
    <dgm:cxn modelId="{CCD471D5-9062-43E2-A001-6CD75FB1BEBF}" type="presParOf" srcId="{82745601-C1F9-4861-A360-E18D7ADC7AEF}" destId="{13ABDA2B-3BFC-4A71-9757-B30FF5927666}" srcOrd="8" destOrd="0" presId="urn:microsoft.com/office/officeart/2008/layout/CircularPictureCallout"/>
    <dgm:cxn modelId="{11199F31-84A4-44FD-9598-85F6098809C8}" type="presParOf" srcId="{13ABDA2B-3BFC-4A71-9757-B30FF5927666}" destId="{5FB25665-95CA-4276-B5B0-238506419C52}" srcOrd="0" destOrd="0" presId="urn:microsoft.com/office/officeart/2008/layout/CircularPictureCallout"/>
    <dgm:cxn modelId="{9735E38F-6021-4517-B0F9-0DDCCDA3D7BB}" type="presParOf" srcId="{82745601-C1F9-4861-A360-E18D7ADC7AEF}" destId="{E9F9289C-97A5-4DE6-BC31-ACA03B3C22AF}" srcOrd="9" destOrd="0" presId="urn:microsoft.com/office/officeart/2008/layout/CircularPictureCallout"/>
    <dgm:cxn modelId="{7D44D7FE-123B-4DF8-9AB6-FD5F88E00F1F}" type="presParOf" srcId="{82745601-C1F9-4861-A360-E18D7ADC7AEF}" destId="{F5EAF612-5A43-4A8E-8B97-445B051D917F}" srcOrd="10" destOrd="0" presId="urn:microsoft.com/office/officeart/2008/layout/CircularPictureCallout"/>
    <dgm:cxn modelId="{F9784C45-024C-4CBA-90B1-AF35286D19D7}" type="presParOf" srcId="{F5EAF612-5A43-4A8E-8B97-445B051D917F}" destId="{6BFFB595-6F50-41B4-9174-3EAEE8B2B460}" srcOrd="0" destOrd="0" presId="urn:microsoft.com/office/officeart/2008/layout/CircularPictureCallout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42BC28B-F96A-497E-AEDD-A5DC279EF941}" type="doc">
      <dgm:prSet loTypeId="urn:microsoft.com/office/officeart/2005/8/layout/arrow3" loCatId="relationship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s-CL"/>
        </a:p>
      </dgm:t>
    </dgm:pt>
    <dgm:pt modelId="{89216139-35D5-4AC9-8EC4-8A43CDA61FF2}">
      <dgm:prSet phldrT="[Texto]"/>
      <dgm:spPr/>
      <dgm:t>
        <a:bodyPr/>
        <a:lstStyle/>
        <a:p>
          <a:r>
            <a:rPr lang="es-CL" b="1" dirty="0" smtClean="0">
              <a:latin typeface="Microsoft PhagsPa" pitchFamily="34" charset="0"/>
            </a:rPr>
            <a:t>Reglas del secreto en legislaciones específicas</a:t>
          </a:r>
          <a:endParaRPr lang="es-CL" b="1" dirty="0">
            <a:latin typeface="Microsoft PhagsPa" pitchFamily="34" charset="0"/>
          </a:endParaRPr>
        </a:p>
      </dgm:t>
    </dgm:pt>
    <dgm:pt modelId="{5FA3342C-79A8-40A5-9DDF-6E24B6E3F685}" type="parTrans" cxnId="{751BE563-2B07-4CA1-B418-74EC4BCCB8E0}">
      <dgm:prSet/>
      <dgm:spPr/>
      <dgm:t>
        <a:bodyPr/>
        <a:lstStyle/>
        <a:p>
          <a:endParaRPr lang="es-CL"/>
        </a:p>
      </dgm:t>
    </dgm:pt>
    <dgm:pt modelId="{4921F3FD-29DC-4F4C-8940-7D96B77BB8E6}" type="sibTrans" cxnId="{751BE563-2B07-4CA1-B418-74EC4BCCB8E0}">
      <dgm:prSet/>
      <dgm:spPr/>
      <dgm:t>
        <a:bodyPr/>
        <a:lstStyle/>
        <a:p>
          <a:endParaRPr lang="es-CL"/>
        </a:p>
      </dgm:t>
    </dgm:pt>
    <dgm:pt modelId="{5AE80F42-6D52-4B4D-AC21-D81EB963DC38}" type="pres">
      <dgm:prSet presAssocID="{F42BC28B-F96A-497E-AEDD-A5DC279EF941}" presName="compositeShape" presStyleCnt="0">
        <dgm:presLayoutVars>
          <dgm:chMax val="2"/>
          <dgm:dir/>
          <dgm:resizeHandles val="exact"/>
        </dgm:presLayoutVars>
      </dgm:prSet>
      <dgm:spPr/>
      <dgm:t>
        <a:bodyPr/>
        <a:lstStyle/>
        <a:p>
          <a:endParaRPr lang="es-CL"/>
        </a:p>
      </dgm:t>
    </dgm:pt>
    <dgm:pt modelId="{E505D4E0-5FBE-4C19-87F1-FCFE571F82F0}" type="pres">
      <dgm:prSet presAssocID="{89216139-35D5-4AC9-8EC4-8A43CDA61FF2}" presName="downArrow" presStyleLbl="node1" presStyleIdx="0" presStyleCnt="1"/>
      <dgm:spPr/>
    </dgm:pt>
    <dgm:pt modelId="{5F01F02D-8CD8-40DF-99CD-AE976821F248}" type="pres">
      <dgm:prSet presAssocID="{89216139-35D5-4AC9-8EC4-8A43CDA61FF2}" presName="downArrow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AB4A8B08-36C2-4992-B2BF-2549F50C4496}" type="presOf" srcId="{F42BC28B-F96A-497E-AEDD-A5DC279EF941}" destId="{5AE80F42-6D52-4B4D-AC21-D81EB963DC38}" srcOrd="0" destOrd="0" presId="urn:microsoft.com/office/officeart/2005/8/layout/arrow3"/>
    <dgm:cxn modelId="{7A7983FF-1B21-4F30-B2B8-1F57EEC3659B}" type="presOf" srcId="{89216139-35D5-4AC9-8EC4-8A43CDA61FF2}" destId="{5F01F02D-8CD8-40DF-99CD-AE976821F248}" srcOrd="0" destOrd="0" presId="urn:microsoft.com/office/officeart/2005/8/layout/arrow3"/>
    <dgm:cxn modelId="{751BE563-2B07-4CA1-B418-74EC4BCCB8E0}" srcId="{F42BC28B-F96A-497E-AEDD-A5DC279EF941}" destId="{89216139-35D5-4AC9-8EC4-8A43CDA61FF2}" srcOrd="0" destOrd="0" parTransId="{5FA3342C-79A8-40A5-9DDF-6E24B6E3F685}" sibTransId="{4921F3FD-29DC-4F4C-8940-7D96B77BB8E6}"/>
    <dgm:cxn modelId="{D5F6A4D9-31CD-484D-9F5C-1FBE1A96B60B}" type="presParOf" srcId="{5AE80F42-6D52-4B4D-AC21-D81EB963DC38}" destId="{E505D4E0-5FBE-4C19-87F1-FCFE571F82F0}" srcOrd="0" destOrd="0" presId="urn:microsoft.com/office/officeart/2005/8/layout/arrow3"/>
    <dgm:cxn modelId="{A20F869B-1EC3-455B-BC04-6993D4B6F798}" type="presParOf" srcId="{5AE80F42-6D52-4B4D-AC21-D81EB963DC38}" destId="{5F01F02D-8CD8-40DF-99CD-AE976821F248}" srcOrd="1" destOrd="0" presId="urn:microsoft.com/office/officeart/2005/8/layout/arrow3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EA4D434-137B-4BB1-856D-5DDFF73ACD96}">
      <dsp:nvSpPr>
        <dsp:cNvPr id="0" name=""/>
        <dsp:cNvSpPr/>
      </dsp:nvSpPr>
      <dsp:spPr>
        <a:xfrm>
          <a:off x="2342632" y="645043"/>
          <a:ext cx="4416634" cy="4416634"/>
        </a:xfrm>
        <a:prstGeom prst="blockArc">
          <a:avLst>
            <a:gd name="adj1" fmla="val 16200000"/>
            <a:gd name="adj2" fmla="val 19800000"/>
            <a:gd name="adj3" fmla="val 4523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74D0911-875A-43F1-BE92-AAA9CCCEEEC9}">
      <dsp:nvSpPr>
        <dsp:cNvPr id="0" name=""/>
        <dsp:cNvSpPr/>
      </dsp:nvSpPr>
      <dsp:spPr>
        <a:xfrm>
          <a:off x="2342632" y="645043"/>
          <a:ext cx="4416634" cy="4416634"/>
        </a:xfrm>
        <a:prstGeom prst="blockArc">
          <a:avLst>
            <a:gd name="adj1" fmla="val 19800000"/>
            <a:gd name="adj2" fmla="val 1800000"/>
            <a:gd name="adj3" fmla="val 4523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39B9E8B-4BD1-4AA4-B63F-CB5804855F41}">
      <dsp:nvSpPr>
        <dsp:cNvPr id="0" name=""/>
        <dsp:cNvSpPr/>
      </dsp:nvSpPr>
      <dsp:spPr>
        <a:xfrm>
          <a:off x="2342632" y="645043"/>
          <a:ext cx="4416634" cy="4416634"/>
        </a:xfrm>
        <a:prstGeom prst="blockArc">
          <a:avLst>
            <a:gd name="adj1" fmla="val 1800000"/>
            <a:gd name="adj2" fmla="val 5400000"/>
            <a:gd name="adj3" fmla="val 4523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ADD0B9F-D321-477E-8FAF-08A65AF2C432}">
      <dsp:nvSpPr>
        <dsp:cNvPr id="0" name=""/>
        <dsp:cNvSpPr/>
      </dsp:nvSpPr>
      <dsp:spPr>
        <a:xfrm>
          <a:off x="2342632" y="645043"/>
          <a:ext cx="4416634" cy="4416634"/>
        </a:xfrm>
        <a:prstGeom prst="blockArc">
          <a:avLst>
            <a:gd name="adj1" fmla="val 5400000"/>
            <a:gd name="adj2" fmla="val 9000000"/>
            <a:gd name="adj3" fmla="val 4523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F01BDFF-BD59-4C2A-8C6C-720224946CC8}">
      <dsp:nvSpPr>
        <dsp:cNvPr id="0" name=""/>
        <dsp:cNvSpPr/>
      </dsp:nvSpPr>
      <dsp:spPr>
        <a:xfrm>
          <a:off x="2342632" y="645043"/>
          <a:ext cx="4416634" cy="4416634"/>
        </a:xfrm>
        <a:prstGeom prst="blockArc">
          <a:avLst>
            <a:gd name="adj1" fmla="val 9000000"/>
            <a:gd name="adj2" fmla="val 12600000"/>
            <a:gd name="adj3" fmla="val 4523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B0E60E7-DAFA-4549-9456-0F0F48A63880}">
      <dsp:nvSpPr>
        <dsp:cNvPr id="0" name=""/>
        <dsp:cNvSpPr/>
      </dsp:nvSpPr>
      <dsp:spPr>
        <a:xfrm>
          <a:off x="1807645" y="427104"/>
          <a:ext cx="5486608" cy="4852511"/>
        </a:xfrm>
        <a:prstGeom prst="blockArc">
          <a:avLst>
            <a:gd name="adj1" fmla="val 12600000"/>
            <a:gd name="adj2" fmla="val 16200000"/>
            <a:gd name="adj3" fmla="val 4523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BE1020B-11F4-458E-9CEE-F1660F13F207}">
      <dsp:nvSpPr>
        <dsp:cNvPr id="0" name=""/>
        <dsp:cNvSpPr/>
      </dsp:nvSpPr>
      <dsp:spPr>
        <a:xfrm>
          <a:off x="2977475" y="1862395"/>
          <a:ext cx="3146948" cy="1981930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800" b="1" kern="1200" dirty="0" smtClean="0">
              <a:solidFill>
                <a:srgbClr val="002060"/>
              </a:solidFill>
              <a:latin typeface="Microsoft PhagsPa" pitchFamily="34" charset="0"/>
            </a:rPr>
            <a:t>Política de  Participación</a:t>
          </a: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800" b="1" kern="1200" dirty="0" smtClean="0">
              <a:solidFill>
                <a:srgbClr val="002060"/>
              </a:solidFill>
              <a:latin typeface="Microsoft PhagsPa" pitchFamily="34" charset="0"/>
            </a:rPr>
            <a:t>CPLT</a:t>
          </a:r>
          <a:endParaRPr lang="es-CL" sz="2800" b="1" kern="1200" dirty="0">
            <a:solidFill>
              <a:srgbClr val="002060"/>
            </a:solidFill>
            <a:latin typeface="Microsoft PhagsPa" pitchFamily="34" charset="0"/>
          </a:endParaRPr>
        </a:p>
      </dsp:txBody>
      <dsp:txXfrm>
        <a:off x="3438335" y="2152642"/>
        <a:ext cx="2225228" cy="1401436"/>
      </dsp:txXfrm>
    </dsp:sp>
    <dsp:sp modelId="{F7E2A41A-3711-4532-AFF8-E6F6ADD6560D}">
      <dsp:nvSpPr>
        <dsp:cNvPr id="0" name=""/>
        <dsp:cNvSpPr/>
      </dsp:nvSpPr>
      <dsp:spPr>
        <a:xfrm>
          <a:off x="3637545" y="-163289"/>
          <a:ext cx="1826808" cy="1716555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b="1" kern="1200" dirty="0" smtClean="0">
              <a:solidFill>
                <a:srgbClr val="002060"/>
              </a:solidFill>
              <a:latin typeface="Microsoft PhagsPa" pitchFamily="34" charset="0"/>
            </a:rPr>
            <a:t>Ideas.Info</a:t>
          </a:r>
          <a:endParaRPr lang="es-CL" sz="1800" b="1" kern="1200" dirty="0">
            <a:solidFill>
              <a:srgbClr val="002060"/>
            </a:solidFill>
            <a:latin typeface="Microsoft PhagsPa" pitchFamily="34" charset="0"/>
          </a:endParaRPr>
        </a:p>
      </dsp:txBody>
      <dsp:txXfrm>
        <a:off x="3905075" y="88095"/>
        <a:ext cx="1291748" cy="1213787"/>
      </dsp:txXfrm>
    </dsp:sp>
    <dsp:sp modelId="{1A0D001F-AEBA-4575-AD23-F275DDADECF7}">
      <dsp:nvSpPr>
        <dsp:cNvPr id="0" name=""/>
        <dsp:cNvSpPr/>
      </dsp:nvSpPr>
      <dsp:spPr>
        <a:xfrm>
          <a:off x="1709869" y="884050"/>
          <a:ext cx="1943748" cy="1780248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b="1" kern="1200" dirty="0" smtClean="0">
              <a:latin typeface="Microsoft PhagsPa" pitchFamily="34" charset="0"/>
            </a:rPr>
            <a:t>Cuenta Pública Participativa</a:t>
          </a:r>
          <a:endParaRPr lang="es-CL" sz="1800" b="1" kern="1200" dirty="0">
            <a:latin typeface="Microsoft PhagsPa" pitchFamily="34" charset="0"/>
          </a:endParaRPr>
        </a:p>
      </dsp:txBody>
      <dsp:txXfrm>
        <a:off x="1994524" y="1144761"/>
        <a:ext cx="1374438" cy="1258826"/>
      </dsp:txXfrm>
    </dsp:sp>
    <dsp:sp modelId="{2FD0CD5A-005C-4673-89D0-48734681EFE2}">
      <dsp:nvSpPr>
        <dsp:cNvPr id="0" name=""/>
        <dsp:cNvSpPr/>
      </dsp:nvSpPr>
      <dsp:spPr>
        <a:xfrm>
          <a:off x="1736708" y="3040556"/>
          <a:ext cx="1890071" cy="1783980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b="1" kern="1200" dirty="0" smtClean="0">
              <a:latin typeface="Microsoft PhagsPa" pitchFamily="34" charset="0"/>
            </a:rPr>
            <a:t>Foros Ciudadanos</a:t>
          </a:r>
        </a:p>
      </dsp:txBody>
      <dsp:txXfrm>
        <a:off x="2013502" y="3301814"/>
        <a:ext cx="1336483" cy="1261464"/>
      </dsp:txXfrm>
    </dsp:sp>
    <dsp:sp modelId="{FAE755E7-5118-4E6D-B61C-3C82715362ED}">
      <dsp:nvSpPr>
        <dsp:cNvPr id="0" name=""/>
        <dsp:cNvSpPr/>
      </dsp:nvSpPr>
      <dsp:spPr>
        <a:xfrm>
          <a:off x="3654248" y="4150861"/>
          <a:ext cx="1793400" cy="1721744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b="1" kern="1200" dirty="0" smtClean="0">
              <a:latin typeface="Microsoft PhagsPa" pitchFamily="34" charset="0"/>
            </a:rPr>
            <a:t>Consultas Públicas</a:t>
          </a:r>
          <a:endParaRPr lang="es-CL" sz="1800" b="1" kern="1200" dirty="0">
            <a:latin typeface="Microsoft PhagsPa" pitchFamily="34" charset="0"/>
          </a:endParaRPr>
        </a:p>
      </dsp:txBody>
      <dsp:txXfrm>
        <a:off x="3916885" y="4403005"/>
        <a:ext cx="1268126" cy="1217456"/>
      </dsp:txXfrm>
    </dsp:sp>
    <dsp:sp modelId="{99FF0EB2-7A25-43B3-9FCF-4E77A67A0E6B}">
      <dsp:nvSpPr>
        <dsp:cNvPr id="0" name=""/>
        <dsp:cNvSpPr/>
      </dsp:nvSpPr>
      <dsp:spPr>
        <a:xfrm>
          <a:off x="5550195" y="3114356"/>
          <a:ext cx="1739918" cy="1636380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b="1" kern="1200" dirty="0" smtClean="0">
              <a:solidFill>
                <a:srgbClr val="002060"/>
              </a:solidFill>
              <a:latin typeface="Microsoft PhagsPa" pitchFamily="34" charset="0"/>
            </a:rPr>
            <a:t>Foro de Enlaces </a:t>
          </a:r>
          <a:endParaRPr lang="es-CL" sz="1800" b="1" kern="1200" dirty="0">
            <a:solidFill>
              <a:srgbClr val="002060"/>
            </a:solidFill>
            <a:latin typeface="Microsoft PhagsPa" pitchFamily="34" charset="0"/>
          </a:endParaRPr>
        </a:p>
      </dsp:txBody>
      <dsp:txXfrm>
        <a:off x="5805000" y="3353998"/>
        <a:ext cx="1230308" cy="1157096"/>
      </dsp:txXfrm>
    </dsp:sp>
    <dsp:sp modelId="{4AEEC8E6-6BD4-44E6-BFF1-7D2587AA197D}">
      <dsp:nvSpPr>
        <dsp:cNvPr id="0" name=""/>
        <dsp:cNvSpPr/>
      </dsp:nvSpPr>
      <dsp:spPr>
        <a:xfrm>
          <a:off x="5558984" y="936103"/>
          <a:ext cx="1722340" cy="1676142"/>
        </a:xfrm>
        <a:prstGeom prst="ellipse">
          <a:avLst/>
        </a:prstGeom>
        <a:solidFill>
          <a:schemeClr val="bg1"/>
        </a:solidFill>
        <a:ln w="25400" cap="flat" cmpd="sng" algn="ctr">
          <a:solidFill>
            <a:schemeClr val="accent4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b="1" kern="1200" dirty="0" smtClean="0">
              <a:solidFill>
                <a:schemeClr val="bg1"/>
              </a:solidFill>
              <a:latin typeface="Microsoft PhagsPa" pitchFamily="34" charset="0"/>
            </a:rPr>
            <a:t>Consejo de Sociedad Civil</a:t>
          </a:r>
          <a:endParaRPr lang="es-CL" sz="1800" b="1" kern="1200" dirty="0">
            <a:solidFill>
              <a:schemeClr val="bg1"/>
            </a:solidFill>
            <a:latin typeface="Microsoft PhagsPa" pitchFamily="34" charset="0"/>
          </a:endParaRPr>
        </a:p>
      </dsp:txBody>
      <dsp:txXfrm>
        <a:off x="5811215" y="1181568"/>
        <a:ext cx="1217878" cy="118521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FE68E2-871D-4753-99EF-7385F42A22D7}">
      <dsp:nvSpPr>
        <dsp:cNvPr id="0" name=""/>
        <dsp:cNvSpPr/>
      </dsp:nvSpPr>
      <dsp:spPr>
        <a:xfrm>
          <a:off x="913351" y="2808312"/>
          <a:ext cx="1801864" cy="1865707"/>
        </a:xfrm>
        <a:prstGeom prst="round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C65075-6913-4E1A-876D-F11FABBCE5C5}">
      <dsp:nvSpPr>
        <dsp:cNvPr id="0" name=""/>
        <dsp:cNvSpPr/>
      </dsp:nvSpPr>
      <dsp:spPr>
        <a:xfrm>
          <a:off x="1402042" y="1909808"/>
          <a:ext cx="2809825" cy="2792696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0" tIns="165100" rIns="165100" bIns="165100" numCol="1" spcCol="1270" anchor="b" anchorCtr="0">
          <a:noAutofit/>
        </a:bodyPr>
        <a:lstStyle/>
        <a:p>
          <a:pPr lvl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6500" kern="1200"/>
        </a:p>
      </dsp:txBody>
      <dsp:txXfrm>
        <a:off x="1402042" y="1909808"/>
        <a:ext cx="2809825" cy="2792696"/>
      </dsp:txXfrm>
    </dsp:sp>
    <dsp:sp modelId="{4141B2A8-CC78-4DDA-BB08-5293D90DF493}">
      <dsp:nvSpPr>
        <dsp:cNvPr id="0" name=""/>
        <dsp:cNvSpPr/>
      </dsp:nvSpPr>
      <dsp:spPr>
        <a:xfrm>
          <a:off x="3738226" y="0"/>
          <a:ext cx="894672" cy="894672"/>
        </a:xfrm>
        <a:prstGeom prst="ellipse">
          <a:avLst/>
        </a:prstGeom>
        <a:solidFill>
          <a:schemeClr val="accent4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704E33-7694-4A67-A0CF-8A34E1223C17}">
      <dsp:nvSpPr>
        <dsp:cNvPr id="0" name=""/>
        <dsp:cNvSpPr/>
      </dsp:nvSpPr>
      <dsp:spPr>
        <a:xfrm>
          <a:off x="4004551" y="0"/>
          <a:ext cx="5014253" cy="8946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25400" rIns="50800" bIns="254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kern="1200" dirty="0" smtClean="0">
              <a:latin typeface="Microsoft PhagsPa" pitchFamily="34" charset="0"/>
            </a:rPr>
            <a:t>Universidad Central de Coquimbo</a:t>
          </a:r>
          <a:endParaRPr lang="es-CL" sz="2000" kern="1200" dirty="0">
            <a:latin typeface="Microsoft PhagsPa" pitchFamily="34" charset="0"/>
          </a:endParaRPr>
        </a:p>
      </dsp:txBody>
      <dsp:txXfrm>
        <a:off x="4004551" y="0"/>
        <a:ext cx="5014253" cy="894672"/>
      </dsp:txXfrm>
    </dsp:sp>
    <dsp:sp modelId="{8383EE42-008D-40B3-8FB7-FB70D4037C16}">
      <dsp:nvSpPr>
        <dsp:cNvPr id="0" name=""/>
        <dsp:cNvSpPr/>
      </dsp:nvSpPr>
      <dsp:spPr>
        <a:xfrm>
          <a:off x="3738226" y="1121550"/>
          <a:ext cx="894672" cy="894672"/>
        </a:xfrm>
        <a:prstGeom prst="ellipse">
          <a:avLst/>
        </a:prstGeom>
        <a:solidFill>
          <a:schemeClr val="accent4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F2EB925-0A30-41FA-81B7-C4B634E4819B}">
      <dsp:nvSpPr>
        <dsp:cNvPr id="0" name=""/>
        <dsp:cNvSpPr/>
      </dsp:nvSpPr>
      <dsp:spPr>
        <a:xfrm>
          <a:off x="4004551" y="1098790"/>
          <a:ext cx="3885012" cy="8946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25400" rIns="50800" bIns="254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kern="1200" dirty="0" smtClean="0">
              <a:latin typeface="Microsoft PhagsPa" pitchFamily="34" charset="0"/>
            </a:rPr>
            <a:t>Universidad de Talca</a:t>
          </a:r>
          <a:endParaRPr lang="es-CL" sz="2000" kern="1200" dirty="0">
            <a:latin typeface="Microsoft PhagsPa" pitchFamily="34" charset="0"/>
          </a:endParaRPr>
        </a:p>
      </dsp:txBody>
      <dsp:txXfrm>
        <a:off x="4004551" y="1098790"/>
        <a:ext cx="3885012" cy="894672"/>
      </dsp:txXfrm>
    </dsp:sp>
    <dsp:sp modelId="{928D6DB3-82DF-4252-BDA1-E6F31A064116}">
      <dsp:nvSpPr>
        <dsp:cNvPr id="0" name=""/>
        <dsp:cNvSpPr/>
      </dsp:nvSpPr>
      <dsp:spPr>
        <a:xfrm>
          <a:off x="3738226" y="2160050"/>
          <a:ext cx="894672" cy="894672"/>
        </a:xfrm>
        <a:prstGeom prst="ellipse">
          <a:avLst/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D036E3E-EA19-40F3-B4AA-BFFBF0C3D190}">
      <dsp:nvSpPr>
        <dsp:cNvPr id="0" name=""/>
        <dsp:cNvSpPr/>
      </dsp:nvSpPr>
      <dsp:spPr>
        <a:xfrm>
          <a:off x="4004551" y="2036522"/>
          <a:ext cx="4484116" cy="8946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25400" rIns="50800" bIns="254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kern="1200" dirty="0" smtClean="0">
              <a:latin typeface="Microsoft PhagsPa" pitchFamily="34" charset="0"/>
            </a:rPr>
            <a:t>Universidad de Concepción</a:t>
          </a:r>
          <a:endParaRPr lang="es-CL" sz="2000" kern="1200" dirty="0">
            <a:latin typeface="Microsoft PhagsPa" pitchFamily="34" charset="0"/>
          </a:endParaRPr>
        </a:p>
      </dsp:txBody>
      <dsp:txXfrm>
        <a:off x="4004551" y="2036522"/>
        <a:ext cx="4484116" cy="894672"/>
      </dsp:txXfrm>
    </dsp:sp>
    <dsp:sp modelId="{56A36462-DAEC-401B-BAE5-862D64E70240}">
      <dsp:nvSpPr>
        <dsp:cNvPr id="0" name=""/>
        <dsp:cNvSpPr/>
      </dsp:nvSpPr>
      <dsp:spPr>
        <a:xfrm>
          <a:off x="3738226" y="3168354"/>
          <a:ext cx="894672" cy="894672"/>
        </a:xfrm>
        <a:prstGeom prst="ellipse">
          <a:avLst/>
        </a:prstGeom>
        <a:solidFill>
          <a:schemeClr val="accent5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C012F9D-3E83-409D-8BC5-C46A7741A3CE}">
      <dsp:nvSpPr>
        <dsp:cNvPr id="0" name=""/>
        <dsp:cNvSpPr/>
      </dsp:nvSpPr>
      <dsp:spPr>
        <a:xfrm>
          <a:off x="4004551" y="3168354"/>
          <a:ext cx="4484116" cy="8946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25400" rIns="50800" bIns="254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kern="1200" dirty="0" smtClean="0">
              <a:latin typeface="Microsoft PhagsPa" pitchFamily="34" charset="0"/>
            </a:rPr>
            <a:t>Universidad Católica de Temuco</a:t>
          </a:r>
          <a:endParaRPr lang="es-CL" sz="2000" kern="1200" dirty="0">
            <a:latin typeface="Microsoft PhagsPa" pitchFamily="34" charset="0"/>
          </a:endParaRPr>
        </a:p>
      </dsp:txBody>
      <dsp:txXfrm>
        <a:off x="4004551" y="3168354"/>
        <a:ext cx="4484116" cy="894672"/>
      </dsp:txXfrm>
    </dsp:sp>
    <dsp:sp modelId="{4A6386F1-12ED-454E-B4AF-D21AF376BCC1}">
      <dsp:nvSpPr>
        <dsp:cNvPr id="0" name=""/>
        <dsp:cNvSpPr/>
      </dsp:nvSpPr>
      <dsp:spPr>
        <a:xfrm>
          <a:off x="3738226" y="4176461"/>
          <a:ext cx="894672" cy="894672"/>
        </a:xfrm>
        <a:prstGeom prst="ellipse">
          <a:avLst/>
        </a:prstGeom>
        <a:solidFill>
          <a:schemeClr val="accent5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1A3AE4C-924F-4DCA-A1B8-EF25487D4519}">
      <dsp:nvSpPr>
        <dsp:cNvPr id="0" name=""/>
        <dsp:cNvSpPr/>
      </dsp:nvSpPr>
      <dsp:spPr>
        <a:xfrm>
          <a:off x="4062036" y="4225783"/>
          <a:ext cx="4484116" cy="8946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25400" rIns="50800" bIns="254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kern="1200" dirty="0" smtClean="0">
              <a:latin typeface="Microsoft PhagsPa" pitchFamily="34" charset="0"/>
            </a:rPr>
            <a:t>Universidad de Los Lagos</a:t>
          </a:r>
          <a:endParaRPr lang="es-CL" sz="2000" kern="1200" dirty="0">
            <a:latin typeface="Microsoft PhagsPa" pitchFamily="34" charset="0"/>
          </a:endParaRPr>
        </a:p>
      </dsp:txBody>
      <dsp:txXfrm>
        <a:off x="4062036" y="4225783"/>
        <a:ext cx="4484116" cy="89467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3E607B-9CA0-49E9-8173-DB2995BC7D69}">
      <dsp:nvSpPr>
        <dsp:cNvPr id="0" name=""/>
        <dsp:cNvSpPr/>
      </dsp:nvSpPr>
      <dsp:spPr>
        <a:xfrm>
          <a:off x="918" y="693085"/>
          <a:ext cx="3582380" cy="2865904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51B0686-7035-4938-B7C8-A7A4909237E0}">
      <dsp:nvSpPr>
        <dsp:cNvPr id="0" name=""/>
        <dsp:cNvSpPr/>
      </dsp:nvSpPr>
      <dsp:spPr>
        <a:xfrm>
          <a:off x="323332" y="3272399"/>
          <a:ext cx="3188318" cy="1003066"/>
        </a:xfrm>
        <a:prstGeom prst="wedgeRectCallout">
          <a:avLst>
            <a:gd name="adj1" fmla="val 20250"/>
            <a:gd name="adj2" fmla="val -607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400" b="1" kern="1200" dirty="0" smtClean="0">
              <a:latin typeface="Microsoft PhagsPa" pitchFamily="34" charset="0"/>
            </a:rPr>
            <a:t>Pídelo por Transparencia  </a:t>
          </a:r>
          <a:endParaRPr lang="es-CL" sz="2400" b="1" kern="1200" dirty="0">
            <a:latin typeface="Microsoft PhagsPa" pitchFamily="34" charset="0"/>
          </a:endParaRPr>
        </a:p>
      </dsp:txBody>
      <dsp:txXfrm>
        <a:off x="323332" y="3272399"/>
        <a:ext cx="3188318" cy="1003066"/>
      </dsp:txXfrm>
    </dsp:sp>
    <dsp:sp modelId="{D59125BB-CF71-4C20-8E85-AC51738821E2}">
      <dsp:nvSpPr>
        <dsp:cNvPr id="0" name=""/>
        <dsp:cNvSpPr/>
      </dsp:nvSpPr>
      <dsp:spPr>
        <a:xfrm>
          <a:off x="3941537" y="693085"/>
          <a:ext cx="3582380" cy="2865904"/>
        </a:xfrm>
        <a:prstGeom prst="rect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5000" r="-5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71C57D2-70F1-4319-90FF-5034BD0F987A}">
      <dsp:nvSpPr>
        <dsp:cNvPr id="0" name=""/>
        <dsp:cNvSpPr/>
      </dsp:nvSpPr>
      <dsp:spPr>
        <a:xfrm>
          <a:off x="4263951" y="3272399"/>
          <a:ext cx="3188318" cy="1003066"/>
        </a:xfrm>
        <a:prstGeom prst="wedgeRectCallout">
          <a:avLst>
            <a:gd name="adj1" fmla="val 20250"/>
            <a:gd name="adj2" fmla="val -60700"/>
          </a:avLst>
        </a:prstGeom>
        <a:solidFill>
          <a:schemeClr val="accent4">
            <a:hueOff val="1237169"/>
            <a:satOff val="-29544"/>
            <a:lumOff val="-1608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400" b="1" kern="1200" dirty="0" smtClean="0">
              <a:latin typeface="Microsoft PhagsPa" pitchFamily="34" charset="0"/>
            </a:rPr>
            <a:t>Candidato Transparente</a:t>
          </a:r>
          <a:endParaRPr lang="es-CL" sz="2400" b="1" kern="1200" dirty="0">
            <a:latin typeface="Microsoft PhagsPa" pitchFamily="34" charset="0"/>
          </a:endParaRPr>
        </a:p>
      </dsp:txBody>
      <dsp:txXfrm>
        <a:off x="4263951" y="3272399"/>
        <a:ext cx="3188318" cy="100306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F9289C-97A5-4DE6-BC31-ACA03B3C22AF}">
      <dsp:nvSpPr>
        <dsp:cNvPr id="0" name=""/>
        <dsp:cNvSpPr/>
      </dsp:nvSpPr>
      <dsp:spPr>
        <a:xfrm>
          <a:off x="2778690" y="4312285"/>
          <a:ext cx="3717627" cy="45720"/>
        </a:xfrm>
        <a:prstGeom prst="line">
          <a:avLst/>
        </a:pr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774DAB2-D1E8-4679-BE35-2E48AFD2F52F}">
      <dsp:nvSpPr>
        <dsp:cNvPr id="0" name=""/>
        <dsp:cNvSpPr/>
      </dsp:nvSpPr>
      <dsp:spPr>
        <a:xfrm flipV="1">
          <a:off x="2818358" y="2533135"/>
          <a:ext cx="2906299" cy="45720"/>
        </a:xfrm>
        <a:prstGeom prst="line">
          <a:avLst/>
        </a:pr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C6CADF-88DB-4CAA-9362-7F5FEF8CA8B0}">
      <dsp:nvSpPr>
        <dsp:cNvPr id="0" name=""/>
        <dsp:cNvSpPr/>
      </dsp:nvSpPr>
      <dsp:spPr>
        <a:xfrm flipV="1">
          <a:off x="2509423" y="749786"/>
          <a:ext cx="4256161" cy="54120"/>
        </a:xfrm>
        <a:prstGeom prst="line">
          <a:avLst/>
        </a:pr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898BD82-3751-4711-AAB8-8D6669392F04}">
      <dsp:nvSpPr>
        <dsp:cNvPr id="0" name=""/>
        <dsp:cNvSpPr/>
      </dsp:nvSpPr>
      <dsp:spPr>
        <a:xfrm>
          <a:off x="720097" y="936080"/>
          <a:ext cx="2850248" cy="2750005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4BA6B0-AC98-4D6E-BE38-49251E682D10}">
      <dsp:nvSpPr>
        <dsp:cNvPr id="0" name=""/>
        <dsp:cNvSpPr/>
      </dsp:nvSpPr>
      <dsp:spPr>
        <a:xfrm>
          <a:off x="432042" y="3024331"/>
          <a:ext cx="3253301" cy="1677483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3600" b="1" kern="1200" spc="-150" dirty="0" smtClean="0">
              <a:solidFill>
                <a:srgbClr val="0070C0"/>
              </a:solidFill>
              <a:latin typeface="Berlin Sans FB Demi" pitchFamily="34" charset="0"/>
              <a:ea typeface="+mn-ea"/>
              <a:cs typeface="Segoe UI" pitchFamily="34" charset="0"/>
            </a:rPr>
            <a:t>Incidencia Legislativa</a:t>
          </a:r>
          <a:endParaRPr lang="es-CL" sz="3600" b="1" kern="1200" spc="-150" dirty="0">
            <a:solidFill>
              <a:srgbClr val="0070C0"/>
            </a:solidFill>
            <a:latin typeface="Berlin Sans FB Demi" pitchFamily="34" charset="0"/>
            <a:ea typeface="+mn-ea"/>
            <a:cs typeface="Segoe UI" pitchFamily="34" charset="0"/>
          </a:endParaRPr>
        </a:p>
      </dsp:txBody>
      <dsp:txXfrm>
        <a:off x="432042" y="3024331"/>
        <a:ext cx="3253301" cy="1677483"/>
      </dsp:txXfrm>
    </dsp:sp>
    <dsp:sp modelId="{1D6223EB-936E-4551-BC25-59EDD1C16156}">
      <dsp:nvSpPr>
        <dsp:cNvPr id="0" name=""/>
        <dsp:cNvSpPr/>
      </dsp:nvSpPr>
      <dsp:spPr>
        <a:xfrm>
          <a:off x="5256577" y="3"/>
          <a:ext cx="1524985" cy="1524985"/>
        </a:xfrm>
        <a:prstGeom prst="ellipse">
          <a:avLst/>
        </a:prstGeom>
        <a:solidFill>
          <a:schemeClr val="accent4">
            <a:tint val="50000"/>
            <a:hueOff val="418936"/>
            <a:satOff val="-10768"/>
            <a:lumOff val="344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23489F1-56D6-4687-AD8D-896E850AA291}">
      <dsp:nvSpPr>
        <dsp:cNvPr id="0" name=""/>
        <dsp:cNvSpPr/>
      </dsp:nvSpPr>
      <dsp:spPr>
        <a:xfrm>
          <a:off x="6840760" y="-3"/>
          <a:ext cx="3326453" cy="1582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400" b="1" kern="1200" dirty="0" smtClean="0">
              <a:solidFill>
                <a:srgbClr val="0070C0"/>
              </a:solidFill>
              <a:latin typeface="Microsoft PhagsPa" pitchFamily="34" charset="0"/>
            </a:rPr>
            <a:t>Transparencia</a:t>
          </a:r>
          <a:endParaRPr lang="es-CL" sz="2400" b="1" kern="1200" dirty="0">
            <a:solidFill>
              <a:srgbClr val="0070C0"/>
            </a:solidFill>
            <a:latin typeface="Microsoft PhagsPa" pitchFamily="34" charset="0"/>
          </a:endParaRPr>
        </a:p>
      </dsp:txBody>
      <dsp:txXfrm>
        <a:off x="6840760" y="-3"/>
        <a:ext cx="3326453" cy="1582400"/>
      </dsp:txXfrm>
    </dsp:sp>
    <dsp:sp modelId="{578B7BBB-B2AF-41CC-8DA4-2446BDC0CC00}">
      <dsp:nvSpPr>
        <dsp:cNvPr id="0" name=""/>
        <dsp:cNvSpPr/>
      </dsp:nvSpPr>
      <dsp:spPr>
        <a:xfrm>
          <a:off x="4190505" y="1765580"/>
          <a:ext cx="1524985" cy="1524985"/>
        </a:xfrm>
        <a:prstGeom prst="ellipse">
          <a:avLst/>
        </a:prstGeom>
        <a:solidFill>
          <a:schemeClr val="accent4">
            <a:tint val="50000"/>
            <a:hueOff val="837872"/>
            <a:satOff val="-21535"/>
            <a:lumOff val="688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C4C8184-288F-4BD6-9296-5876CA04A735}">
      <dsp:nvSpPr>
        <dsp:cNvPr id="0" name=""/>
        <dsp:cNvSpPr/>
      </dsp:nvSpPr>
      <dsp:spPr>
        <a:xfrm>
          <a:off x="5722974" y="1829889"/>
          <a:ext cx="1548464" cy="15249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0" rIns="91440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400" b="1" kern="1200" dirty="0" smtClean="0">
              <a:solidFill>
                <a:schemeClr val="accent4">
                  <a:lumMod val="75000"/>
                </a:schemeClr>
              </a:solidFill>
              <a:latin typeface="Microsoft PhagsPa" pitchFamily="34" charset="0"/>
            </a:rPr>
            <a:t>Probidad</a:t>
          </a:r>
          <a:endParaRPr lang="es-CL" sz="2400" b="1" kern="1200" dirty="0">
            <a:solidFill>
              <a:schemeClr val="accent4">
                <a:lumMod val="75000"/>
              </a:schemeClr>
            </a:solidFill>
            <a:latin typeface="Microsoft PhagsPa" pitchFamily="34" charset="0"/>
          </a:endParaRPr>
        </a:p>
      </dsp:txBody>
      <dsp:txXfrm>
        <a:off x="5722974" y="1829889"/>
        <a:ext cx="1548464" cy="1524985"/>
      </dsp:txXfrm>
    </dsp:sp>
    <dsp:sp modelId="{5FB25665-95CA-4276-B5B0-238506419C52}">
      <dsp:nvSpPr>
        <dsp:cNvPr id="0" name=""/>
        <dsp:cNvSpPr/>
      </dsp:nvSpPr>
      <dsp:spPr>
        <a:xfrm>
          <a:off x="4968553" y="3528397"/>
          <a:ext cx="1524985" cy="1524985"/>
        </a:xfrm>
        <a:prstGeom prst="ellipse">
          <a:avLst/>
        </a:prstGeom>
        <a:solidFill>
          <a:schemeClr val="accent4">
            <a:tint val="50000"/>
            <a:hueOff val="1256808"/>
            <a:satOff val="-32303"/>
            <a:lumOff val="1032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BFFB595-6F50-41B4-9174-3EAEE8B2B460}">
      <dsp:nvSpPr>
        <dsp:cNvPr id="0" name=""/>
        <dsp:cNvSpPr/>
      </dsp:nvSpPr>
      <dsp:spPr>
        <a:xfrm>
          <a:off x="6570058" y="3572652"/>
          <a:ext cx="1737610" cy="15249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0" rIns="91440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400" b="1" kern="1200" dirty="0" smtClean="0">
              <a:solidFill>
                <a:schemeClr val="accent3">
                  <a:lumMod val="50000"/>
                </a:schemeClr>
              </a:solidFill>
              <a:latin typeface="Microsoft PhagsPa" pitchFamily="34" charset="0"/>
            </a:rPr>
            <a:t>Protección de Datos Personales</a:t>
          </a:r>
          <a:endParaRPr lang="es-CL" sz="2400" b="1" kern="1200" dirty="0">
            <a:solidFill>
              <a:schemeClr val="accent3">
                <a:lumMod val="50000"/>
              </a:schemeClr>
            </a:solidFill>
            <a:latin typeface="Microsoft PhagsPa" pitchFamily="34" charset="0"/>
          </a:endParaRPr>
        </a:p>
      </dsp:txBody>
      <dsp:txXfrm>
        <a:off x="6570058" y="3572652"/>
        <a:ext cx="1737610" cy="152498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05D4E0-5FBE-4C19-87F1-FCFE571F82F0}">
      <dsp:nvSpPr>
        <dsp:cNvPr id="0" name=""/>
        <dsp:cNvSpPr/>
      </dsp:nvSpPr>
      <dsp:spPr>
        <a:xfrm>
          <a:off x="171122" y="134497"/>
          <a:ext cx="1711220" cy="2151958"/>
        </a:xfrm>
        <a:prstGeom prst="downArrow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01F02D-8CD8-40DF-99CD-AE976821F248}">
      <dsp:nvSpPr>
        <dsp:cNvPr id="0" name=""/>
        <dsp:cNvSpPr/>
      </dsp:nvSpPr>
      <dsp:spPr>
        <a:xfrm>
          <a:off x="2139026" y="0"/>
          <a:ext cx="2139026" cy="26899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63576" rIns="163576" bIns="163576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300" b="1" kern="1200" dirty="0" smtClean="0">
              <a:latin typeface="Microsoft PhagsPa" pitchFamily="34" charset="0"/>
            </a:rPr>
            <a:t>Reglas del secreto en legislaciones específicas</a:t>
          </a:r>
          <a:endParaRPr lang="es-CL" sz="2300" b="1" kern="1200" dirty="0">
            <a:latin typeface="Microsoft PhagsPa" pitchFamily="34" charset="0"/>
          </a:endParaRPr>
        </a:p>
      </dsp:txBody>
      <dsp:txXfrm>
        <a:off x="2139026" y="0"/>
        <a:ext cx="2139026" cy="26899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AccentedPicture">
  <dgm:title val=""/>
  <dgm:desc val=""/>
  <dgm:catLst>
    <dgm:cat type="picture" pri="1000"/>
    <dgm:cat type="pictureconver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composite"/>
    <dgm:shape xmlns:r="http://schemas.openxmlformats.org/officeDocument/2006/relationships" r:blip="">
      <dgm:adjLst/>
    </dgm:shape>
    <dgm:choose name="Name1">
      <dgm:if name="Name2" axis="ch" ptType="node" func="cnt" op="lte" val="1">
        <dgm:constrLst>
          <dgm:constr type="h" for="ch" forName="picture_1" refType="h"/>
          <dgm:constr type="w" for="ch" forName="picture_1" refType="h" refFor="ch" refForName="picture_1" op="equ" fact="0.784"/>
          <dgm:constr type="l" for="ch" forName="picture_1"/>
          <dgm:constr type="t" for="ch" forName="picture_1"/>
          <dgm:constr type="w" for="ch" forName="text_1" refType="w" refFor="ch" refForName="picture_1" fact="0.77"/>
          <dgm:constr type="h" for="ch" forName="text_1" refType="h" refFor="ch" refForName="picture_1" fact="0.6"/>
          <dgm:constr type="l" for="ch" forName="text_1" refType="w" refFor="ch" refForName="picture_1" fact="0.04"/>
          <dgm:constr type="t" for="ch" forName="text_1" refType="h" refFor="ch" refForName="picture_1" fact="0.4"/>
        </dgm:constrLst>
      </dgm:if>
      <dgm:if name="Name3" axis="ch" ptType="node" func="cnt" op="lte" val="5">
        <dgm:choose name="Name4">
          <dgm:if name="Name5" func="var" arg="dir" op="equ" val="norm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l" for="ch" forName="picture_1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l" for="ch" forName="text_1" refType="w" refFor="ch" refForName="picture_1" fact="0.04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r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l" for="ch" forName="maxNode" refType="r" refFor="ch" refForName="picture_1"/>
              <dgm:constr type="lOff" for="ch" forName="maxNode" refType="h" refFor="des" refForName="pair" fact="0.5"/>
              <dgm:constr type="r" for="ch" forName="maxNode" refType="w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if>
          <dgm:else name="Name6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r" for="ch" forName="picture_1" refType="w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r" for="ch" forName="text_1" refType="w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l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r" for="ch" forName="maxNode" refType="l" refFor="ch" refForName="picture_1"/>
              <dgm:constr type="rOff" for="ch" forName="maxNode" refType="h" refFor="des" refForName="pair" fact="-0.5"/>
              <dgm:constr type="l" for="ch" forName="maxNode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else>
        </dgm:choose>
      </dgm:if>
      <dgm:else name="Name7">
        <dgm:choose name="Name8">
          <dgm:if name="Name9" func="var" arg="dir" op="equ" val="norm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l" for="ch" forName="picture_1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l" for="ch" forName="text_1" refType="w" refFor="ch" refForName="picture_1" fact="0.04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r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l" for="ch" forName="maxNode" refType="r" refFor="ch" refForName="picture_1"/>
              <dgm:constr type="lOff" for="ch" forName="maxNode" refType="h" refFor="des" refForName="pair" fact="0.5"/>
              <dgm:constr type="r" for="ch" forName="maxNode" refType="w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if>
          <dgm:else name="Name10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r" for="ch" forName="picture_1" refType="w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r" for="ch" forName="text_1" refType="w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l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r" for="ch" forName="maxNode" refType="l" refFor="ch" refForName="picture_1"/>
              <dgm:constr type="rOff" for="ch" forName="maxNode" refType="h" refFor="des" refForName="pair" fact="-0.5"/>
              <dgm:constr type="l" for="ch" forName="maxNode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else>
        </dgm:choose>
      </dgm:else>
    </dgm:choose>
    <dgm:forEach name="Name11" axis="ch" ptType="sibTrans" hideLastTrans="0" cnt="1">
      <dgm:layoutNode name="picture_1" styleLbl="bgImgPlace1">
        <dgm:alg type="sp"/>
        <dgm:shape xmlns:r="http://schemas.openxmlformats.org/officeDocument/2006/relationships" type="roundRect" r:blip="" blipPhldr="1">
          <dgm:adjLst/>
        </dgm:shape>
        <dgm:presOf axis="self"/>
      </dgm:layoutNode>
    </dgm:forEach>
    <dgm:forEach name="Name12" axis="ch" ptType="node" cnt="1">
      <dgm:layoutNode name="text_1" styleLbl="node1">
        <dgm:varLst>
          <dgm:bulletEnabled val="1"/>
        </dgm:varLst>
        <dgm:choose name="Name13">
          <dgm:if name="Name14" func="var" arg="dir" op="equ" val="norm">
            <dgm:alg type="tx">
              <dgm:param type="txAnchorVert" val="b"/>
              <dgm:param type="parTxLTRAlign" val="l"/>
              <dgm:param type="shpTxLTRAlignCh" val="l"/>
              <dgm:param type="parTxRTLAlign" val="l"/>
              <dgm:param type="shpTxRTLAlignCh" val="l"/>
            </dgm:alg>
          </dgm:if>
          <dgm:else name="Name15">
            <dgm:alg type="tx">
              <dgm:param type="txAnchorVert" val="b"/>
              <dgm:param type="parTxLTRAlign" val="r"/>
              <dgm:param type="shpTxLTRAlignCh" val="r"/>
              <dgm:param type="parTxRTLAlign" val="r"/>
              <dgm:param type="shpTxRTLAlignCh" val="r"/>
            </dgm:alg>
          </dgm:else>
        </dgm:choose>
        <dgm:shape xmlns:r="http://schemas.openxmlformats.org/officeDocument/2006/relationships" type="rect" r:blip="" hideGeom="1">
          <dgm:adjLst/>
        </dgm:shape>
        <dgm:presOf axis="desOrSelf" ptType="node"/>
        <dgm:constrLst>
          <dgm:constr type="primFontSz" val="65"/>
          <dgm:constr type="lMarg" refType="primFontSz" fact="0.2"/>
          <dgm:constr type="rMarg" refType="primFontSz" fact="0.2"/>
          <dgm:constr type="tMarg" refType="primFontSz" fact="0.2"/>
          <dgm:constr type="bMarg" refType="primFontSz" fact="0.2"/>
        </dgm:constrLst>
        <dgm:ruleLst>
          <dgm:rule type="primFontSz" val="5" fact="NaN" max="NaN"/>
        </dgm:ruleLst>
      </dgm:layoutNode>
    </dgm:forEach>
    <dgm:choose name="Name16">
      <dgm:if name="Name17" axis="ch" ptType="node" func="cnt" op="gte" val="2">
        <dgm:layoutNode name="linV">
          <dgm:choose name="Name18">
            <dgm:if name="Name19" func="var" arg="dir" op="equ" val="norm">
              <dgm:alg type="lin">
                <dgm:param type="linDir" val="fromT"/>
                <dgm:param type="vertAlign" val="t"/>
                <dgm:param type="fallback" val="1D"/>
                <dgm:param type="horzAlign" val="l"/>
                <dgm:param type="nodeHorzAlign" val="l"/>
              </dgm:alg>
            </dgm:if>
            <dgm:else name="Name20">
              <dgm:alg type="lin">
                <dgm:param type="linDir" val="fromT"/>
                <dgm:param type="vertAlign" val="t"/>
                <dgm:param type="fallback" val="1D"/>
                <dgm:param type="horzAlign" val="r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constrLst>
            <dgm:constr type="w" for="ch" forName="spaceV" val="1"/>
            <dgm:constr type="w" for="ch" forName="pair" refType="w" op="equ"/>
            <dgm:constr type="w" for="des" forName="desText" op="equ"/>
            <dgm:constr type="primFontSz" for="des" forName="desText" op="equ" val="65"/>
          </dgm:constrLst>
          <dgm:forEach name="Name21" axis="ch" ptType="node" st="2">
            <dgm:layoutNode name="pair">
              <dgm:alg type="composite"/>
              <dgm:shape xmlns:r="http://schemas.openxmlformats.org/officeDocument/2006/relationships" r:blip="">
                <dgm:adjLst/>
              </dgm:shape>
              <dgm:choose name="Name22">
                <dgm:if name="Name23" func="var" arg="dir" op="equ" val="norm">
                  <dgm:constrLst>
                    <dgm:constr type="userC"/>
                    <dgm:constr type="l" for="ch" forName="spaceH"/>
                    <dgm:constr type="r" for="ch" forName="spaceH" refType="userC"/>
                    <dgm:constr type="ctrY" for="ch" forName="spaceH" refType="w" fact="0.5"/>
                    <dgm:constr type="h" for="ch" forName="spaceH" val="1"/>
                    <dgm:constr type="w" for="ch" forName="desPictures" refType="h"/>
                    <dgm:constr type="h" for="ch" forName="desPictures" refType="w" refFor="ch" refForName="desPictures" op="equ"/>
                    <dgm:constr type="ctrX" for="ch" forName="desPictures" refType="userC"/>
                    <dgm:constr type="ctrY" for="ch" forName="desPictures" refType="w" fact="0.5"/>
                    <dgm:constr type="l" for="ch" forName="desTextWrapper" refType="r" refFor="ch" refForName="desPictures"/>
                    <dgm:constr type="ctrY" for="ch" forName="desTextWrapper" refType="w" fact="0.5"/>
                    <dgm:constr type="h" for="ch" forName="desTextWrapper" refType="h"/>
                    <dgm:constr type="h" for="des" forName="desText" refType="h"/>
                  </dgm:constrLst>
                </dgm:if>
                <dgm:else name="Name24">
                  <dgm:constrLst>
                    <dgm:constr type="userC"/>
                    <dgm:constr type="r" for="ch" forName="spaceH" refType="w"/>
                    <dgm:constr type="l" for="ch" forName="spaceH" refType="userC"/>
                    <dgm:constr type="ctrY" for="ch" forName="spaceH" refType="w" fact="0.5"/>
                    <dgm:constr type="h" for="ch" forName="spaceH" val="1"/>
                    <dgm:constr type="w" for="ch" forName="desPictures" refType="h"/>
                    <dgm:constr type="h" for="ch" forName="desPictures" refType="w" refFor="ch" refForName="desPictures" op="equ"/>
                    <dgm:constr type="ctrX" for="ch" forName="desPictures" refType="userC"/>
                    <dgm:constr type="ctrY" for="ch" forName="desPictures" refType="w" fact="0.5"/>
                    <dgm:constr type="r" for="ch" forName="desTextWrapper" refType="l" refFor="ch" refForName="desPictures"/>
                    <dgm:constr type="ctrY" for="ch" forName="desTextWrapper" refType="w" fact="0.5"/>
                    <dgm:constr type="h" for="ch" forName="desTextWrapper" refType="h"/>
                    <dgm:constr type="h" for="des" forName="desText" refType="h"/>
                  </dgm:constrLst>
                </dgm:else>
              </dgm:choose>
              <dgm:layoutNode name="spaceH">
                <dgm:alg type="sp"/>
                <dgm:shape xmlns:r="http://schemas.openxmlformats.org/officeDocument/2006/relationships" type="rect" r:blip="" hideGeom="1">
                  <dgm:adjLst/>
                </dgm:shape>
                <dgm:presOf/>
              </dgm:layoutNode>
              <dgm:layoutNode name="desPictures" styleLbl="alignImgPlace1">
                <dgm:alg type="sp"/>
                <dgm:shape xmlns:r="http://schemas.openxmlformats.org/officeDocument/2006/relationships" type="ellipse" r:blip="" blipPhldr="1">
                  <dgm:adjLst/>
                </dgm:shape>
                <dgm:presOf/>
              </dgm:layoutNode>
              <dgm:layoutNode name="desTextWrapper">
                <dgm:choose name="Name25">
                  <dgm:if name="Name26" func="var" arg="dir" op="equ" val="norm">
                    <dgm:alg type="lin">
                      <dgm:param type="horzAlign" val="l"/>
                    </dgm:alg>
                  </dgm:if>
                  <dgm:else name="Name27">
                    <dgm:alg type="lin">
                      <dgm:param type="horzAlign" val="r"/>
                    </dgm:alg>
                  </dgm:else>
                </dgm:choose>
                <dgm:layoutNode name="desText" styleLbl="revTx">
                  <dgm:varLst>
                    <dgm:bulletEnabled val="1"/>
                  </dgm:varLst>
                  <dgm:choose name="Name28">
                    <dgm:if name="Name29" func="var" arg="dir" op="equ" val="norm">
                      <dgm:alg type="tx">
                        <dgm:param type="parTxLTRAlign" val="l"/>
                        <dgm:param type="shpTxLTRAlignCh" val="l"/>
                        <dgm:param type="parTxRTLAlign" val="r"/>
                        <dgm:param type="shpTxRTLAlignCh" val="r"/>
                      </dgm:alg>
                    </dgm:if>
                    <dgm:else name="Name30">
                      <dgm:alg type="tx">
                        <dgm:param type="parTxLTRAlign" val="r"/>
                        <dgm:param type="shpTxLTRAlignCh" val="r"/>
                        <dgm:param type="parTxRTLAlign" val="r"/>
                        <dgm:param type="shpTxRTLAlignCh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onstrLst>
                    <dgm:constr type="userW"/>
                    <dgm:constr type="w" refType="userW" fact="0.1"/>
                    <dgm:constr type="lMarg" refType="primFontSz" fact="0.2"/>
                    <dgm:constr type="rMarg" refType="primFontSz" fact="0.2"/>
                    <dgm:constr type="tMarg" refType="primFontSz" fact="0.1"/>
                    <dgm:constr type="bMarg" refType="primFontSz" fact="0.1"/>
                  </dgm:constrLst>
                  <dgm:ruleLst>
                    <dgm:rule type="w" val="NaN" fact="1" max="NaN"/>
                    <dgm:rule type="primFontSz" val="5" fact="NaN" max="NaN"/>
                  </dgm:ruleLst>
                </dgm:layoutNode>
              </dgm:layoutNode>
            </dgm:layoutNode>
            <dgm:forEach name="Name31" axis="followSib" ptType="sibTrans" cnt="1">
              <dgm:layoutNode name="spaceV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forEach>
          </dgm:forEach>
        </dgm:layoutNode>
      </dgm:if>
      <dgm:else name="Name32"/>
    </dgm:choose>
    <dgm:layoutNode name="maxNode">
      <dgm:alg type="lin"/>
      <dgm:shape xmlns:r="http://schemas.openxmlformats.org/officeDocument/2006/relationships" r:blip="">
        <dgm:adjLst/>
      </dgm:shape>
      <dgm:presOf/>
      <dgm:constrLst>
        <dgm:constr type="w" for="ch"/>
        <dgm:constr type="h" for="ch"/>
      </dgm:constrLst>
      <dgm:layoutNode name="Name33">
        <dgm:alg type="sp"/>
        <dgm:shape xmlns:r="http://schemas.openxmlformats.org/officeDocument/2006/relationships" r:blip="">
          <dgm:adjLst/>
        </dgm:shape>
        <dgm:presOf/>
      </dgm:layoutNode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BendingPictureCaptionList">
  <dgm:title val=""/>
  <dgm:desc val=""/>
  <dgm:catLst>
    <dgm:cat type="picture" pri="9000"/>
    <dgm:cat type="pictureconvert" pri="9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w" fact="1.11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"/>
              <dgm:constr type="t" for="ch" forName="rect1" refType="h" fact="0"/>
              <dgm:constr type="w" for="ch" forName="rect1" refType="w"/>
              <dgm:constr type="h" for="ch" forName="rect1" refType="h" fact="0.8"/>
              <dgm:constr type="l" for="ch" forName="wedgeRectCallout1" refType="w" fact="0.09"/>
              <dgm:constr type="t" for="ch" forName="wedgeRectCallout1" refType="h" fact="0.72"/>
              <dgm:constr type="w" for="ch" forName="wedgeRectCallout1" refType="w" fact="0.89"/>
              <dgm:constr type="h" for="ch" forName="wedgeRectCallout1" refType="h" fact="0.28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w"/>
              <dgm:constr type="h" for="ch" forName="rect1" refType="h" fact="0.8"/>
              <dgm:constr type="l" for="ch" forName="wedgeRectCallout1" refType="w" fact="0.02"/>
              <dgm:constr type="t" for="ch" forName="wedgeRectCallout1" refType="h" fact="0.72"/>
              <dgm:constr type="w" for="ch" forName="wedgeRectCallout1" refType="w" fact="0.89"/>
              <dgm:constr type="h" for="ch" forName="wedgeRectCallout1" refType="h" fact="0.28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wedgeRectCallout1" styleLbl="node1">
          <dgm:varLst>
            <dgm:bulletEnabled val="1"/>
          </dgm:varLst>
          <dgm:alg type="tx"/>
          <dgm:choose name="Name7">
            <dgm:if name="Name8" func="var" arg="dir" op="equ" val="norm">
              <dgm:shape xmlns:r="http://schemas.openxmlformats.org/officeDocument/2006/relationships" type="wedgeRectCallout" r:blip="">
                <dgm:adjLst>
                  <dgm:adj idx="1" val="0.2025"/>
                  <dgm:adj idx="2" val="-0.607"/>
                </dgm:adjLst>
              </dgm:shape>
            </dgm:if>
            <dgm:else name="Name9">
              <dgm:shape xmlns:r="http://schemas.openxmlformats.org/officeDocument/2006/relationships" type="wedgeRectCallout" r:blip="">
                <dgm:adjLst>
                  <dgm:adj idx="1" val="-0.2025"/>
                  <dgm:adj idx="2" val="-0.607"/>
                </dgm:adjLst>
              </dgm:shape>
            </dgm:else>
          </dgm:choos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CircularPictureCallout">
  <dgm:title val=""/>
  <dgm:desc val=""/>
  <dgm:catLst>
    <dgm:cat type="picture" pri="2000"/>
    <dgm:cat type="pictureconvert" pri="2000"/>
  </dgm:catLst>
  <dgm:sampData>
    <dgm:dataModel>
      <dgm:ptLst>
        <dgm:pt modelId="0" type="doc"/>
        <dgm:pt modelId="1"/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2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axis="ch" ptType="node" func="cnt" op="lte" val="1">
          <dgm:constrLst>
            <dgm:constr type="h" for="ch" forName="picture_1" refType="h"/>
            <dgm:constr type="w" for="ch" forName="picture_1" refType="h" refFor="ch" refForName="picture_1" op="equ"/>
            <dgm:constr type="l" for="ch" forName="picture_1"/>
            <dgm:constr type="t" for="ch" forName="picture_1"/>
            <dgm:constr type="w" for="ch" forName="text_1" refType="w" refFor="ch" refForName="picture_1" fact="0.64"/>
            <dgm:constr type="h" for="ch" forName="text_1" refType="h" refFor="ch" refForName="picture_1" fact="0.33"/>
            <dgm:constr type="l" for="ch" forName="text_1" refType="w" refFor="ch" refForName="picture_1" fact="0.18"/>
            <dgm:constr type="t" for="ch" forName="text_1" refType="h" refFor="ch" refForName="picture_1" fact="0.531"/>
          </dgm:constrLst>
        </dgm:if>
        <dgm:if name="Name4" axis="ch" ptType="node" func="cnt" op="lte" val="2">
          <dgm:choose name="Name5">
            <dgm:if name="Name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l" for="ch" forName="picture_2" refType="w" refFor="ch" refForName="picture_1" fact="1.21"/>
                <dgm:constr type="ctrY" for="ch" forName="picture_2" refType="h" refFor="ch" refForName="picture_1" fact="0.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if>
            <dgm:else name="Name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else>
          </dgm:choose>
        </dgm:if>
        <dgm:if name="Name8" axis="ch" ptType="node" func="cnt" op="lte" val="3">
          <dgm:choose name="Name9">
            <dgm:if name="Name10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l" for="ch" forName="picture_2" refType="w" refFor="ch" refForName="picture_1" fact="1.21"/>
                <dgm:constr type="ctrY" for="ch" forName="picture_2" refType="h" refFor="ch" refForName="picture_1" fact="0.18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l" for="ch" forName="picture_3" refType="w" refFor="ch" refForName="picture_1" fact="1.21"/>
                <dgm:constr type="ctrY" for="ch" forName="picture_3" refType="h" refFor="ch" refForName="picture_1" fact="0.812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if>
            <dgm:else name="Name11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18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812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else>
          </dgm:choose>
        </dgm:if>
        <dgm:if name="Name12" axis="ch" ptType="node" func="cnt" op="lte" val="4">
          <dgm:choose name="Name13">
            <dgm:if name="Name14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l" for="ch" forName="picture_2" refType="w" refFor="ch" refForName="picture_1" fact="1.354"/>
                <dgm:constr type="ctrY" for="ch" forName="picture_2" refType="h" refFor="ch" refForName="picture_1" fact="0.1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l" for="ch" forName="picture_3" refType="w" refFor="ch" refForName="picture_1" fact="1.21"/>
                <dgm:constr type="ctrY" for="ch" forName="picture_3" refType="h" refFor="ch" refForName="picture_1" fact="0.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l" for="ch" forName="picture_4" refType="w" refFor="ch" refForName="picture_1" fact="1.354"/>
                <dgm:constr type="ctrY" for="ch" forName="picture_4" refType="h" refFor="ch" refForName="picture_1" fact="0.8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if>
            <dgm:else name="Name15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r" for="ch" forName="picture_2" refType="w"/>
                <dgm:constr type="rOff" for="ch" forName="picture_2" refType="w" refFor="ch" refForName="picture_1" fact="-1.354"/>
                <dgm:constr type="ctrY" for="ch" forName="picture_2" refType="h" refFor="ch" refForName="picture_1" fact="0.1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r" for="ch" forName="picture_4" refType="w"/>
                <dgm:constr type="rOff" for="ch" forName="picture_4" refType="w" refFor="ch" refForName="picture_1" fact="-1.354"/>
                <dgm:constr type="ctrY" for="ch" forName="picture_4" refType="h" refFor="ch" refForName="picture_1" fact="0.8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else>
          </dgm:choose>
        </dgm:if>
        <dgm:if name="Name16" axis="ch" ptType="node" func="cnt" op="lte" val="5">
          <dgm:choose name="Name17">
            <dgm:if name="Name18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l" for="ch" forName="picture_2" refType="w" refFor="ch" refForName="picture_1" fact="1.375"/>
                <dgm:constr type="ctrY" for="ch" forName="picture_2" refType="h" refFor="ch" refForName="picture_1" fact="0.11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l" for="ch" forName="picture_3" refType="w" refFor="ch" refForName="picture_1" fact="1.21"/>
                <dgm:constr type="ctrY" for="ch" forName="picture_3" refType="h" refFor="ch" refForName="picture_1" fact="0.353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l" for="ch" forName="picture_4" refType="w" refFor="ch" refForName="picture_1" fact="1.21"/>
                <dgm:constr type="ctrY" for="ch" forName="picture_4" refType="h" refFor="ch" refForName="picture_1" fact="0.647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l" for="ch" forName="picture_5" refType="w" refFor="ch" refForName="picture_1" fact="1.375"/>
                <dgm:constr type="ctrY" for="ch" forName="picture_5" refType="h" refFor="ch" refForName="picture_1" fact="0.8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if>
            <dgm:else name="Name19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r" for="ch" forName="picture_2" refType="w"/>
                <dgm:constr type="rOff" for="ch" forName="picture_2" refType="w" refFor="ch" refForName="picture_1" fact="-1.375"/>
                <dgm:constr type="ctrY" for="ch" forName="picture_2" refType="h" refFor="ch" refForName="picture_1" fact="0.11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353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647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r" for="ch" forName="picture_5" refType="w"/>
                <dgm:constr type="rOff" for="ch" forName="picture_5" refType="w" refFor="ch" refForName="picture_1" fact="-1.375"/>
                <dgm:constr type="ctrY" for="ch" forName="picture_5" refType="h" refFor="ch" refForName="picture_1" fact="0.8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else>
          </dgm:choose>
        </dgm:if>
        <dgm:if name="Name20" axis="ch" ptType="node" func="cnt" op="lte" val="6">
          <dgm:choose name="Name21">
            <dgm:if name="Name22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l" for="ch" forName="picture_2" refType="w" refFor="ch" refForName="picture_1" fact="1.4238"/>
                <dgm:constr type="ctrY" for="ch" forName="picture_2" refType="h" refFor="ch" refForName="picture_1" fact="0.09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l" for="ch" forName="picture_3" refType="w" refFor="ch" refForName="picture_1" fact="1.2667"/>
                <dgm:constr type="ctrY" for="ch" forName="picture_3" refType="h" refFor="ch" refForName="picture_1" fact="0.261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l" for="ch" forName="picture_4" refType="w" refFor="ch" refForName="picture_1" fact="1.21"/>
                <dgm:constr type="ctrY" for="ch" forName="picture_4" refType="h" refFor="ch" refForName="picture_1" fact="0.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l" for="ch" forName="picture_5" refType="w" refFor="ch" refForName="picture_1" fact="1.2667"/>
                <dgm:constr type="ctrY" for="ch" forName="picture_5" refType="h" refFor="ch" refForName="picture_1" fact="0.73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l" for="ch" forName="picture_6" refType="w" refFor="ch" refForName="picture_1" fact="1.4238"/>
                <dgm:constr type="ctrY" for="ch" forName="picture_6" refType="h" refFor="ch" refForName="picture_1" fact="0.91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if>
            <dgm:else name="Name23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r" for="ch" forName="picture_2" refType="w"/>
                <dgm:constr type="rOff" for="ch" forName="picture_2" refType="w" refFor="ch" refForName="picture_1" fact="-1.4238"/>
                <dgm:constr type="ctrY" for="ch" forName="picture_2" refType="h" refFor="ch" refForName="picture_1" fact="0.09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r" for="ch" forName="picture_3" refType="w"/>
                <dgm:constr type="rOff" for="ch" forName="picture_3" refType="w" refFor="ch" refForName="picture_1" fact="-1.2667"/>
                <dgm:constr type="ctrY" for="ch" forName="picture_3" refType="h" refFor="ch" refForName="picture_1" fact="0.261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r" for="ch" forName="picture_5" refType="w"/>
                <dgm:constr type="rOff" for="ch" forName="picture_5" refType="w" refFor="ch" refForName="picture_1" fact="-1.2667"/>
                <dgm:constr type="ctrY" for="ch" forName="picture_5" refType="h" refFor="ch" refForName="picture_1" fact="0.73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r" for="ch" forName="picture_6" refType="w"/>
                <dgm:constr type="rOff" for="ch" forName="picture_6" refType="w" refFor="ch" refForName="picture_1" fact="-1.4238"/>
                <dgm:constr type="ctrY" for="ch" forName="picture_6" refType="h" refFor="ch" refForName="picture_1" fact="0.91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else>
          </dgm:choose>
        </dgm:if>
        <dgm:else name="Name24">
          <dgm:choose name="Name25">
            <dgm:if name="Name2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l" for="ch" forName="picture_2" refType="w" refFor="ch" refForName="picture_1" fact="1.4363"/>
                <dgm:constr type="ctrY" for="ch" forName="picture_2" refType="h" refFor="ch" refForName="picture_1" fact="0.0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l" for="ch" forName="picture_3" refType="w" refFor="ch" refForName="picture_1" fact="1.2898"/>
                <dgm:constr type="ctrY" for="ch" forName="picture_3" refType="h" refFor="ch" refForName="picture_1" fact="0.227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l" for="ch" forName="picture_4" refType="w" refFor="ch" refForName="picture_1" fact="1.21"/>
                <dgm:constr type="ctrY" for="ch" forName="picture_4" refType="h" refFor="ch" refForName="picture_1" fact="0.40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l" for="ch" forName="picture_5" refType="w" refFor="ch" refForName="picture_1" fact="1.21"/>
                <dgm:constr type="ctrY" for="ch" forName="picture_5" refType="h" refFor="ch" refForName="picture_1" fact="0.595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l" for="ch" forName="picture_6" refType="w" refFor="ch" refForName="picture_1" fact="1.2898"/>
                <dgm:constr type="ctrY" for="ch" forName="picture_6" refType="h" refFor="ch" refForName="picture_1" fact="0.773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l" for="ch" forName="picture_7" refType="w" refFor="ch" refForName="picture_1" fact="1.4363"/>
                <dgm:constr type="ctrY" for="ch" forName="picture_7" refType="h" refFor="ch" refForName="picture_1" fact="0.925"/>
                <dgm:constr type="l" for="ch" forName="line_7" refType="ctrX" refFor="ch" refForName="picture_1"/>
                <dgm:constr type="h" for="ch" forName="line_7"/>
                <dgm:constr type="r" for="ch" forName="line_7" refType="ctrX" refFor="ch" refForName="picture_7"/>
                <dgm:constr type="ctrY" for="ch" forName="line_7" refType="ctrY" refFor="ch" refForName="picture_7"/>
                <dgm:constr type="r" for="ch" forName="textparent_7" refType="w"/>
                <dgm:constr type="h" for="ch" forName="textparent_7" refType="h" refFor="ch" refForName="picture_7"/>
                <dgm:constr type="l" for="ch" forName="textparent_7" refType="r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if>
            <dgm:else name="Name2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r" for="ch" forName="picture_2" refType="w"/>
                <dgm:constr type="rOff" for="ch" forName="picture_2" refType="w" refFor="ch" refForName="picture_1" fact="-1.4363"/>
                <dgm:constr type="ctrY" for="ch" forName="picture_2" refType="h" refFor="ch" refForName="picture_1" fact="0.0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r" for="ch" forName="picture_3" refType="w"/>
                <dgm:constr type="rOff" for="ch" forName="picture_3" refType="w" refFor="ch" refForName="picture_1" fact="-1.2898"/>
                <dgm:constr type="ctrY" for="ch" forName="picture_3" refType="h" refFor="ch" refForName="picture_1" fact="0.227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40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r" for="ch" forName="picture_5" refType="w"/>
                <dgm:constr type="rOff" for="ch" forName="picture_5" refType="w" refFor="ch" refForName="picture_1" fact="-1.21"/>
                <dgm:constr type="ctrY" for="ch" forName="picture_5" refType="h" refFor="ch" refForName="picture_1" fact="0.595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r" for="ch" forName="picture_6" refType="w"/>
                <dgm:constr type="rOff" for="ch" forName="picture_6" refType="w" refFor="ch" refForName="picture_1" fact="-1.2898"/>
                <dgm:constr type="ctrY" for="ch" forName="picture_6" refType="h" refFor="ch" refForName="picture_1" fact="0.773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r" for="ch" forName="picture_7" refType="w"/>
                <dgm:constr type="rOff" for="ch" forName="picture_7" refType="w" refFor="ch" refForName="picture_1" fact="-1.4363"/>
                <dgm:constr type="ctrY" for="ch" forName="picture_7" refType="h" refFor="ch" refForName="picture_1" fact="0.925"/>
                <dgm:constr type="r" for="ch" forName="line_7" refType="ctrX" refFor="ch" refForName="picture_1"/>
                <dgm:constr type="h" for="ch" forName="line_7"/>
                <dgm:constr type="l" for="ch" forName="line_7" refType="ctrX" refFor="ch" refForName="picture_7"/>
                <dgm:constr type="ctrY" for="ch" forName="line_7" refType="ctrY" refFor="ch" refForName="picture_7"/>
                <dgm:constr type="l" for="ch" forName="textparent_7"/>
                <dgm:constr type="h" for="ch" forName="textparent_7" refType="h" refFor="ch" refForName="picture_7"/>
                <dgm:constr type="r" for="ch" forName="textparent_7" refType="l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else>
          </dgm:choose>
        </dgm:else>
      </dgm:choose>
      <dgm:forEach name="wrapper" axis="self" ptType="parTrans">
        <dgm:forEach name="wrapper2" axis="self" ptType="sibTrans" st="2">
          <dgm:forEach name="pictureRepeat" axis="self">
            <dgm:layoutNode name="pictureRepeatNode" styleLbl="alignImgPlace1">
              <dgm:alg type="sp"/>
              <dgm:shape xmlns:r="http://schemas.openxmlformats.org/officeDocument/2006/relationships" type="ellipse" r:blip="" blipPhldr="1">
                <dgm:adjLst/>
              </dgm:shape>
              <dgm:presOf axis="self"/>
            </dgm:layoutNode>
          </dgm:forEach>
        </dgm:forEach>
      </dgm:forEach>
      <dgm:forEach name="Name28" axis="ch" ptType="sibTrans" hideLastTrans="0" cnt="1">
        <dgm:layoutNode name="picture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9" ref="pictureRepeat"/>
        </dgm:layoutNode>
      </dgm:forEach>
      <dgm:forEach name="Name30" axis="ch" ptType="node" cnt="1">
        <dgm:layoutNode name="text_1" styleLbl="node1">
          <dgm:varLst>
            <dgm:bulletEnabled val="1"/>
          </dgm:varLst>
          <dgm:alg type="tx">
            <dgm:param type="txAnchorVert" val="b"/>
            <dgm:param type="txAnchorVertCh" val="b"/>
            <dgm:param type="parTxRTLAlign" val="r"/>
            <dgm:param type="shpTxRTLAlignCh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primFontSz" val="65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</dgm:forEach>
      <dgm:forEach name="Name31" axis="ch" ptType="sibTrans" hideLastTrans="0" st="2" cnt="1">
        <dgm:layoutNode name="picture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2" ref="pictureRepeat"/>
        </dgm:layoutNode>
      </dgm:forEach>
      <dgm:forEach name="Name33" axis="ch" ptType="node" st="2" cnt="1">
        <dgm:layoutNode name="line_2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2">
          <dgm:choose name="Name34">
            <dgm:if name="Name35" func="var" arg="dir" op="equ" val="norm">
              <dgm:alg type="lin">
                <dgm:param type="horzAlign" val="l"/>
              </dgm:alg>
            </dgm:if>
            <dgm:else name="Name36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2" refType="w"/>
            <dgm:constr type="h" for="ch" forName="text_2" refType="h"/>
          </dgm:constrLst>
          <dgm:presOf/>
          <dgm:layoutNode name="text_2" styleLbl="revTx">
            <dgm:varLst>
              <dgm:bulletEnabled val="1"/>
            </dgm:varLst>
            <dgm:choose name="Name37">
              <dgm:if name="Name38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39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0" axis="ch" ptType="sibTrans" hideLastTrans="0" st="3" cnt="1">
        <dgm:layoutNode name="picture_3">
          <dgm:alg type="sp"/>
          <dgm:shape xmlns:r="http://schemas.openxmlformats.org/officeDocument/2006/relationships" r:blip="">
            <dgm:adjLst/>
          </dgm:shape>
          <dgm:presOf/>
          <dgm:constrLst/>
          <dgm:forEach name="Name41" ref="pictureRepeat"/>
        </dgm:layoutNode>
      </dgm:forEach>
      <dgm:forEach name="Name42" axis="ch" ptType="node" st="3" cnt="1">
        <dgm:layoutNode name="line_3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3">
          <dgm:choose name="Name43">
            <dgm:if name="Name44" func="var" arg="dir" op="equ" val="norm">
              <dgm:alg type="lin">
                <dgm:param type="horzAlign" val="l"/>
              </dgm:alg>
            </dgm:if>
            <dgm:else name="Name45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3" refType="w"/>
            <dgm:constr type="h" for="ch" forName="text_3" refType="h"/>
          </dgm:constrLst>
          <dgm:presOf/>
          <dgm:layoutNode name="text_3" styleLbl="revTx">
            <dgm:varLst>
              <dgm:bulletEnabled val="1"/>
            </dgm:varLst>
            <dgm:choose name="Name46">
              <dgm:if name="Name47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48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9" axis="ch" ptType="sibTrans" hideLastTrans="0" st="4" cnt="1">
        <dgm:layoutNode name="picture_4">
          <dgm:alg type="sp"/>
          <dgm:shape xmlns:r="http://schemas.openxmlformats.org/officeDocument/2006/relationships" r:blip="">
            <dgm:adjLst/>
          </dgm:shape>
          <dgm:presOf/>
          <dgm:constrLst/>
          <dgm:forEach name="Name50" ref="pictureRepeat"/>
        </dgm:layoutNode>
      </dgm:forEach>
      <dgm:forEach name="Name51" axis="ch" ptType="node" st="4" cnt="1">
        <dgm:layoutNode name="line_4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4">
          <dgm:choose name="Name52">
            <dgm:if name="Name53" func="var" arg="dir" op="equ" val="norm">
              <dgm:alg type="lin">
                <dgm:param type="horzAlign" val="l"/>
              </dgm:alg>
            </dgm:if>
            <dgm:else name="Name54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4" refType="w"/>
            <dgm:constr type="h" for="ch" forName="text_4" refType="h"/>
          </dgm:constrLst>
          <dgm:presOf/>
          <dgm:layoutNode name="text_4" styleLbl="revTx">
            <dgm:varLst>
              <dgm:bulletEnabled val="1"/>
            </dgm:varLst>
            <dgm:choose name="Name55">
              <dgm:if name="Name56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57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58" axis="ch" ptType="sibTrans" hideLastTrans="0" st="5" cnt="1">
        <dgm:layoutNode name="picture_5">
          <dgm:alg type="sp"/>
          <dgm:shape xmlns:r="http://schemas.openxmlformats.org/officeDocument/2006/relationships" r:blip="">
            <dgm:adjLst/>
          </dgm:shape>
          <dgm:presOf/>
          <dgm:constrLst/>
          <dgm:forEach name="Name59" ref="pictureRepeat"/>
        </dgm:layoutNode>
      </dgm:forEach>
      <dgm:forEach name="Name60" axis="ch" ptType="node" st="5" cnt="1">
        <dgm:layoutNode name="line_5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5">
          <dgm:choose name="Name61">
            <dgm:if name="Name62" func="var" arg="dir" op="equ" val="norm">
              <dgm:alg type="lin">
                <dgm:param type="horzAlign" val="l"/>
              </dgm:alg>
            </dgm:if>
            <dgm:else name="Name63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5" refType="w"/>
            <dgm:constr type="h" for="ch" forName="text_5" refType="h"/>
          </dgm:constrLst>
          <dgm:presOf/>
          <dgm:layoutNode name="text_5" styleLbl="revTx">
            <dgm:varLst>
              <dgm:bulletEnabled val="1"/>
            </dgm:varLst>
            <dgm:choose name="Name64">
              <dgm:if name="Name65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66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67" axis="ch" ptType="sibTrans" hideLastTrans="0" st="6" cnt="1">
        <dgm:layoutNode name="picture_6">
          <dgm:alg type="sp"/>
          <dgm:shape xmlns:r="http://schemas.openxmlformats.org/officeDocument/2006/relationships" r:blip="">
            <dgm:adjLst/>
          </dgm:shape>
          <dgm:presOf/>
          <dgm:constrLst/>
          <dgm:forEach name="Name68" ref="pictureRepeat"/>
        </dgm:layoutNode>
      </dgm:forEach>
      <dgm:forEach name="Name69" axis="ch" ptType="node" st="6" cnt="1">
        <dgm:layoutNode name="line_6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6">
          <dgm:choose name="Name70">
            <dgm:if name="Name71" func="var" arg="dir" op="equ" val="norm">
              <dgm:alg type="lin">
                <dgm:param type="horzAlign" val="l"/>
              </dgm:alg>
            </dgm:if>
            <dgm:else name="Name72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6" refType="w"/>
            <dgm:constr type="h" for="ch" forName="text_6" refType="h"/>
          </dgm:constrLst>
          <dgm:presOf/>
          <dgm:layoutNode name="text_6" styleLbl="revTx">
            <dgm:varLst>
              <dgm:bulletEnabled val="1"/>
            </dgm:varLst>
            <dgm:choose name="Name73">
              <dgm:if name="Name74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75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76" axis="ch" ptType="sibTrans" hideLastTrans="0" st="7" cnt="1">
        <dgm:layoutNode name="picture_7">
          <dgm:alg type="sp"/>
          <dgm:shape xmlns:r="http://schemas.openxmlformats.org/officeDocument/2006/relationships" r:blip="">
            <dgm:adjLst/>
          </dgm:shape>
          <dgm:presOf/>
          <dgm:constrLst/>
          <dgm:forEach name="Name77" ref="pictureRepeat"/>
        </dgm:layoutNode>
      </dgm:forEach>
      <dgm:forEach name="Name78" axis="ch" ptType="node" st="7" cnt="1">
        <dgm:layoutNode name="line_7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7">
          <dgm:choose name="Name79">
            <dgm:if name="Name80" func="var" arg="dir" op="equ" val="norm">
              <dgm:alg type="lin">
                <dgm:param type="horzAlign" val="l"/>
              </dgm:alg>
            </dgm:if>
            <dgm:else name="Name81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7" refType="w"/>
            <dgm:constr type="h" for="ch" forName="text_7" refType="h"/>
          </dgm:constrLst>
          <dgm:presOf/>
          <dgm:layoutNode name="text_7" styleLbl="revTx">
            <dgm:varLst>
              <dgm:bulletEnabled val="1"/>
            </dgm:varLst>
            <dgm:choose name="Name82">
              <dgm:if name="Name83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84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arrow3">
  <dgm:title val=""/>
  <dgm:desc val=""/>
  <dgm:catLst>
    <dgm:cat type="relationship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l" for="ch" forName="downArrow" refType="w" fact="0.1"/>
              <dgm:constr type="t" for="ch" forName="downArrow" refType="h" fact="0.05"/>
              <dgm:constr type="lOff" for="ch" forName="downArrow" refType="w" fact="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r" for="ch" forName="downArrowText" refType="w" fact="0.8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r" for="ch" forName="upArrow" refType="w" fact="0.9"/>
              <dgm:constr type="rOff" for="ch" forName="upArrow" refType="w" fact="-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l" for="ch" forName="upArrowText" refType="w" fact="0.15"/>
              <dgm:constr type="primFontSz" for="ch" ptType="node" op="equ" val="65"/>
            </dgm:constrLst>
          </dgm:if>
          <dgm:else name="Name4">
            <dgm:constrLst>
              <dgm:constr type="w" for="ch" forName="downArrow" refType="w" fact="0.4"/>
              <dgm:constr type="h" for="ch" forName="downArrow" refType="h" fact="0.8"/>
              <dgm:constr type="l" for="ch" forName="downArrow" refType="w" fact="0.02"/>
              <dgm:constr type="t" for="ch" forName="downArrow" refType="h" fact="0.05"/>
              <dgm:constr type="lOff" for="ch" forName="downArrow" refType="w" fact="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r" for="ch" forName="downArrowText" refType="w"/>
              <dgm:constr type="primFontSz" for="ch" ptType="node" op="equ" val="65"/>
            </dgm:constrLst>
          </dgm:else>
        </dgm:choose>
      </dgm:if>
      <dgm:else name="Name5">
        <dgm:choose name="Name6">
          <dgm:if name="Name7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r" for="ch" forName="downArrow" refType="w" fact="0.9"/>
              <dgm:constr type="t" for="ch" forName="downArrow" refType="h" fact="0.05"/>
              <dgm:constr type="rOff" for="ch" forName="downArrow" refType="w" fact="-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l" for="ch" forName="downArrowText" refType="w" fact="0.1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l" for="ch" forName="upArrow" refType="w" fact="0.1"/>
              <dgm:constr type="lOff" for="ch" forName="upArrow" refType="w" fact="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r" for="ch" forName="upArrowText" refType="w" fact="0.85"/>
              <dgm:constr type="primFontSz" for="ch" ptType="node" op="equ" val="65"/>
            </dgm:constrLst>
          </dgm:if>
          <dgm:else name="Name8">
            <dgm:constrLst>
              <dgm:constr type="w" for="ch" forName="downArrow" refType="w" fact="0.4"/>
              <dgm:constr type="h" for="ch" forName="downArrow" refType="h" fact="0.8"/>
              <dgm:constr type="r" for="ch" forName="downArrow" refType="w" fact="0.98"/>
              <dgm:constr type="t" for="ch" forName="downArrow" refType="h" fact="0.05"/>
              <dgm:constr type="rOff" for="ch" forName="downArrow" refType="w" fact="-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l" for="ch" forName="downArrowText"/>
              <dgm:constr type="primFontSz" for="ch" ptType="node" op="equ" val="65"/>
            </dgm:constrLst>
          </dgm:else>
        </dgm:choose>
      </dgm:else>
    </dgm:choose>
    <dgm:ruleLst/>
    <dgm:choose name="Name9">
      <dgm:if name="Name10" axis="ch" ptType="node" func="cnt" op="gte" val="2">
        <dgm:layoutNode name="divider" styleLbl="fgShp">
          <dgm:alg type="sp"/>
          <dgm:choose name="Name11">
            <dgm:if name="Name12" func="var" arg="dir" op="equ" val="norm">
              <dgm:shape xmlns:r="http://schemas.openxmlformats.org/officeDocument/2006/relationships" rot="-5" type="mathMinus" r:blip="">
                <dgm:adjLst/>
              </dgm:shape>
            </dgm:if>
            <dgm:else name="Name13">
              <dgm:shape xmlns:r="http://schemas.openxmlformats.org/officeDocument/2006/relationships" rot="5" type="mathMinus" r:blip="">
                <dgm:adjLst/>
              </dgm:shape>
            </dgm:else>
          </dgm:choose>
          <dgm:presOf/>
          <dgm:constrLst/>
          <dgm:ruleLst/>
        </dgm:layoutNode>
      </dgm:if>
      <dgm:else name="Name14"/>
    </dgm:choose>
    <dgm:forEach name="Name15" axis="ch" ptType="node" cnt="1">
      <dgm:layoutNode name="downArrow" styleLbl="node1">
        <dgm:alg type="sp"/>
        <dgm:shape xmlns:r="http://schemas.openxmlformats.org/officeDocument/2006/relationships" type="downArrow" r:blip="">
          <dgm:adjLst/>
        </dgm:shape>
        <dgm:presOf/>
        <dgm:constrLst/>
        <dgm:ruleLst/>
      </dgm:layoutNode>
      <dgm:layoutNode name="down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  <dgm:forEach name="Name16" axis="ch" ptType="node" st="2" cnt="1">
      <dgm:layoutNode name="upArrow" styleLbl="node1">
        <dgm:alg type="sp"/>
        <dgm:shape xmlns:r="http://schemas.openxmlformats.org/officeDocument/2006/relationships" type="upArrow" r:blip="">
          <dgm:adjLst/>
        </dgm:shape>
        <dgm:presOf/>
        <dgm:constrLst/>
        <dgm:ruleLst/>
      </dgm:layoutNode>
      <dgm:layoutNode name="up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BD04111-0767-453D-956A-D2138C93E5B9}" type="datetimeFigureOut">
              <a:rPr lang="es-ES"/>
              <a:pPr>
                <a:defRPr/>
              </a:pPr>
              <a:t>26/09/2016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BFA7E6F-2617-4114-B4BB-607CBAAFBC02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64446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0330F45-C95C-4397-8D98-21CA6FB95389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pPr lvl="0"/>
            <a:endParaRPr lang="es-CL" noProof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701675" y="4416425"/>
            <a:ext cx="5607050" cy="4183063"/>
          </a:xfrm>
          <a:prstGeom prst="rect">
            <a:avLst/>
          </a:prstGeom>
        </p:spPr>
        <p:txBody>
          <a:bodyPr vert="horz" lIns="93177" tIns="46589" rIns="93177" bIns="46589" rtlCol="0">
            <a:normAutofit/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CL" noProof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7E5C069-8506-47FE-AFC0-F03094ED8404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56892667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06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6067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CL" smtClean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86B2375-4AFC-4ADA-BC8E-8C4B7F5A662E}" type="slidenum">
              <a:rPr lang="es-E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40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0403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ES" smtClean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C0C6E3F-0165-41AA-882C-9A6E939D0B58}" type="slidenum">
              <a:rPr lang="es-ES" smtClean="0">
                <a:solidFill>
                  <a:prstClr val="black"/>
                </a:solidFill>
              </a:rPr>
              <a:pPr>
                <a:defRPr/>
              </a:pPr>
              <a:t>19</a:t>
            </a:fld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40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0403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ES" smtClean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C0C6E3F-0165-41AA-882C-9A6E939D0B58}" type="slidenum">
              <a:rPr lang="es-ES" smtClean="0">
                <a:solidFill>
                  <a:prstClr val="black"/>
                </a:solidFill>
              </a:rPr>
              <a:pPr>
                <a:defRPr/>
              </a:pPr>
              <a:t>21</a:t>
            </a:fld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40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0403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ES" smtClean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C0C6E3F-0165-41AA-882C-9A6E939D0B58}" type="slidenum">
              <a:rPr lang="es-ES" smtClean="0">
                <a:solidFill>
                  <a:prstClr val="black"/>
                </a:solidFill>
              </a:rPr>
              <a:pPr>
                <a:defRPr/>
              </a:pPr>
              <a:t>22</a:t>
            </a:fld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40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0403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ES" smtClean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C0C6E3F-0165-41AA-882C-9A6E939D0B58}" type="slidenum">
              <a:rPr lang="es-ES" smtClean="0">
                <a:solidFill>
                  <a:prstClr val="black"/>
                </a:solidFill>
              </a:rPr>
              <a:pPr>
                <a:defRPr/>
              </a:pPr>
              <a:t>23</a:t>
            </a:fld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DCCEA0-CFCD-4267-845F-1D931C9254A2}" type="slidenum">
              <a:rPr lang="es-ES" smtClean="0"/>
              <a:pPr/>
              <a:t>6</a:t>
            </a:fld>
            <a:endParaRPr lang="es-E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06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6067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CL" smtClean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86B2375-4AFC-4ADA-BC8E-8C4B7F5A662E}" type="slidenum">
              <a:rPr lang="es-ES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DCCEA0-CFCD-4267-845F-1D931C9254A2}" type="slidenum">
              <a:rPr lang="es-ES" smtClean="0"/>
              <a:pPr/>
              <a:t>8</a:t>
            </a:fld>
            <a:endParaRPr lang="es-E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DCCEA0-CFCD-4267-845F-1D931C9254A2}" type="slidenum">
              <a:rPr lang="es-ES" smtClean="0"/>
              <a:pPr/>
              <a:t>9</a:t>
            </a:fld>
            <a:endParaRPr lang="es-E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DCCEA0-CFCD-4267-845F-1D931C9254A2}" type="slidenum">
              <a:rPr lang="es-ES" smtClean="0"/>
              <a:pPr/>
              <a:t>10</a:t>
            </a:fld>
            <a:endParaRPr lang="es-E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DCCEA0-CFCD-4267-845F-1D931C9254A2}" type="slidenum">
              <a:rPr lang="es-ES" smtClean="0"/>
              <a:pPr/>
              <a:t>11</a:t>
            </a:fld>
            <a:endParaRPr lang="es-E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4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2227" name="2 Marcador de notas"/>
          <p:cNvSpPr>
            <a:spLocks noGrp="1"/>
          </p:cNvSpPr>
          <p:nvPr>
            <p:ph type="body" idx="1"/>
          </p:nvPr>
        </p:nvSpPr>
        <p:spPr>
          <a:ln/>
        </p:spPr>
        <p:txBody>
          <a:bodyPr>
            <a:normAutofit fontScale="70000" lnSpcReduction="20000"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dirty="0" smtClean="0">
              <a:latin typeface="Arial" pitchFamily="34" charset="0"/>
              <a:ea typeface="ＭＳ Ｐゴシック"/>
            </a:endParaRPr>
          </a:p>
        </p:txBody>
      </p:sp>
      <p:sp>
        <p:nvSpPr>
          <p:cNvPr id="128004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2E956901-7887-43FC-90E5-B4A65F69E304}" type="slidenum">
              <a:rPr lang="es-ES_tradnl" altLang="es-CL" smtClean="0">
                <a:solidFill>
                  <a:srgbClr val="000000"/>
                </a:solidFill>
                <a:ea typeface="ＭＳ Ｐゴシック" pitchFamily="34" charset="-128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17</a:t>
            </a:fld>
            <a:endParaRPr lang="es-ES_tradnl" altLang="es-CL" smtClean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40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0403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ES" smtClean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C0C6E3F-0165-41AA-882C-9A6E939D0B58}" type="slidenum">
              <a:rPr lang="es-ES" smtClean="0">
                <a:solidFill>
                  <a:prstClr val="black"/>
                </a:solidFill>
              </a:rPr>
              <a:pPr>
                <a:defRPr/>
              </a:pPr>
              <a:t>18</a:t>
            </a:fld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57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1C99B5-B483-416C-84FF-F83BF2AE2CB7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7D74E1-FE6D-4136-B3A8-8D30EE90DE17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6578994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95E858-4179-4891-B128-8914B7C318FE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A621C8-31A2-4659-A9E4-16C3AAB6AA93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8944269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70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70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490215-DB8D-4064-BE14-CFF2412861D4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B67453-C6DF-411F-8A7D-1D5FD32EAE8A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8587145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57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F288AC8-3D29-4C71-944B-6E22A164FA36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17B8B06-7831-4642-B225-D5B6A2043518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9194160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131F6DF5-5BC8-4CCA-BB32-86AADB8C6705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AAAE0C4-798D-4F76-9372-0CC4789CF379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8482546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3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C7AEDE8D-C508-44CE-946B-4E855CED1280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8A31F0C-188F-45D6-AC5D-650CFCE91B03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148952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04C02553-652E-4750-8507-4F7227BDA101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40A49BD6-B103-4558-BE46-9B5F1CDC7B15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097003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41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4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8B6DDAF0-B2F5-4E4C-A6E9-7369F2E62347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B8F50D5-478E-4E01-A70D-6D3CE8FD9E31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786807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B3F2976-4A8A-4B15-83EF-6AF4B9B9238C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6A708B1-A256-46C6-AD0D-0A3D89407541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4141938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CB0AF02-0753-4F5A-B171-7F77FE5C8F72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0A9B1AC8-C136-4569-BB3C-34A4E82B15DB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995936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8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196CE3B2-9E71-45EF-A71B-FC9A07716579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EF82765-C5BD-43D7-B464-5D2249F588AB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0536636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0ACB9F-8C54-486D-87A6-83EAA515378D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1C2883-2FA6-431B-B6A2-B823F1387130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163677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CL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C9286B62-55BD-4B5F-A71D-8BB2B5284670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3E2D98E-D784-42FC-961C-96F6539DC197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949644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0EF4C574-A7E1-449E-8251-C2BBA3038870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8C2CA966-3B10-4FB4-A453-16CF29CD1AB1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6149877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70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70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169720B5-F928-4E58-9809-B06C158A77C0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20F77B7-0253-4E5B-895B-1A797D64D0A7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693080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2C28C208-7F94-42F5-9456-A91A8D32D2E2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A7C83368-6EC9-4AF6-983A-D41C7DA226F6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067419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5DC03941-8DAC-4836-97E0-D75A59E64FB6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48DA26FC-3C1E-44FC-ACEA-13AAA395DBFD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0483226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EFB6C724-B441-4D79-915B-9B1CA75ED2C7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43B49210-74FC-4F64-B677-233A6301BE88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735864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A4574E15-917B-40E5-8C22-31DB7A12CEB3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00FA79DA-A88F-4A2A-9860-32CA948B465B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7346542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F0FB6469-F07F-45FB-84E4-D4FE785CA278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5C35C580-6225-4C68-89E4-02DC02C0F6C7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04702762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EAF1197B-0A8C-405D-8F17-545430606816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83A7A5BC-DDF1-4918-AEF4-A4E0D9CEFE44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2413132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E84BD30B-1DDE-4DC9-88C2-8C7A0B855E35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990C1A6E-2143-45B0-9EC6-2B5DBC340204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5010408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3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DA78ED-E8BB-448D-A8B0-4A32C48C67D3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E15666-071D-4A3C-9AE9-95E1295DD089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1604089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FA03A6B8-FE5C-43C1-B991-C0B1474DA8FA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51110C2B-9672-4A4F-B811-4E72E86FBA49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1813826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CL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BBB97362-2F32-4416-9699-A40B19AA6EA7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DF69AE3D-4A2F-4B34-B7B4-8A206FA04754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01273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BEA5DC6D-EFB3-46B6-AF1D-B042D31D9685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90CAE19C-B11B-4940-B1FC-CFD2A7F523AA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742711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8D89381E-2637-487D-9288-5BF90D454F47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B9727A31-7F50-4945-B3F9-5186870CB12C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8105173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2B1EED-7B1C-4BA3-9186-3B3264C9E88E}" type="datetimeFigureOut">
              <a:rPr lang="es-CL"/>
              <a:pPr>
                <a:defRPr/>
              </a:pPr>
              <a:t>26-09-2016</a:t>
            </a:fld>
            <a:endParaRPr lang="es-CL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49FE13-ED0B-4F9C-8DD8-2BC073ABE283}" type="slidenum">
              <a:rPr lang="es-CL"/>
              <a:pPr>
                <a:defRPr/>
              </a:pPr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69632380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DBAE32-835C-4429-BCFC-A01FF0A9FC7C}" type="datetimeFigureOut">
              <a:rPr lang="es-CL"/>
              <a:pPr>
                <a:defRPr/>
              </a:pPr>
              <a:t>26-09-2016</a:t>
            </a:fld>
            <a:endParaRPr lang="es-CL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DD1DF3-9A0D-4080-8F75-00D261D4EFE5}" type="slidenum">
              <a:rPr lang="es-CL"/>
              <a:pPr>
                <a:defRPr/>
              </a:pPr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7714311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722548-7CF9-4067-B3D1-F07F440EF3F9}" type="datetimeFigureOut">
              <a:rPr lang="es-CL"/>
              <a:pPr>
                <a:defRPr/>
              </a:pPr>
              <a:t>26-09-2016</a:t>
            </a:fld>
            <a:endParaRPr lang="es-CL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38A3B7-8265-4491-A41D-0D2021A40736}" type="slidenum">
              <a:rPr lang="es-CL"/>
              <a:pPr>
                <a:defRPr/>
              </a:pPr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5883237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1DA741-32EB-42E7-9AC9-87F6BCEA1E56}" type="datetimeFigureOut">
              <a:rPr lang="es-CL"/>
              <a:pPr>
                <a:defRPr/>
              </a:pPr>
              <a:t>26-09-2016</a:t>
            </a:fld>
            <a:endParaRPr lang="es-CL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4730F8-9094-4A50-9424-C8B4FDD5ABAE}" type="slidenum">
              <a:rPr lang="es-CL"/>
              <a:pPr>
                <a:defRPr/>
              </a:pPr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4646525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B071F2-CFA1-4723-90DB-66C99CCC96FA}" type="datetimeFigureOut">
              <a:rPr lang="es-CL"/>
              <a:pPr>
                <a:defRPr/>
              </a:pPr>
              <a:t>26-09-2016</a:t>
            </a:fld>
            <a:endParaRPr lang="es-CL" dirty="0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07F67A-0825-4D48-938C-8479CC5D4829}" type="slidenum">
              <a:rPr lang="es-CL"/>
              <a:pPr>
                <a:defRPr/>
              </a:pPr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26925703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E51079-0549-43F4-AA86-9EC80AFAFAE8}" type="datetimeFigureOut">
              <a:rPr lang="es-CL"/>
              <a:pPr>
                <a:defRPr/>
              </a:pPr>
              <a:t>26-09-2016</a:t>
            </a:fld>
            <a:endParaRPr lang="es-CL" dirty="0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D9CD46-48AF-4C2D-BBE2-BBDDA676C39B}" type="slidenum">
              <a:rPr lang="es-CL"/>
              <a:pPr>
                <a:defRPr/>
              </a:pPr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5086040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85E65E-B507-4F9F-8430-1B10B69346CF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82FCD5-1CA5-4D2A-B3BB-3A448A6E19F6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47125392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829557-C372-464A-A024-09B97EC2CE65}" type="datetimeFigureOut">
              <a:rPr lang="es-CL"/>
              <a:pPr>
                <a:defRPr/>
              </a:pPr>
              <a:t>26-09-2016</a:t>
            </a:fld>
            <a:endParaRPr lang="es-CL" dirty="0"/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A3073A-049C-412D-8C90-ECB6623843DE}" type="slidenum">
              <a:rPr lang="es-CL"/>
              <a:pPr>
                <a:defRPr/>
              </a:pPr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0676758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4B9D88-543B-41CB-B477-A53EF2055A84}" type="datetimeFigureOut">
              <a:rPr lang="es-CL"/>
              <a:pPr>
                <a:defRPr/>
              </a:pPr>
              <a:t>26-09-2016</a:t>
            </a:fld>
            <a:endParaRPr lang="es-CL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832854-BB2B-4878-B145-F6623504D2B4}" type="slidenum">
              <a:rPr lang="es-CL"/>
              <a:pPr>
                <a:defRPr/>
              </a:pPr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55372770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CL" noProof="0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C22105-71DA-4BF1-8CC7-53B896673760}" type="datetimeFigureOut">
              <a:rPr lang="es-CL"/>
              <a:pPr>
                <a:defRPr/>
              </a:pPr>
              <a:t>26-09-2016</a:t>
            </a:fld>
            <a:endParaRPr lang="es-CL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C82C6D-5FA9-45CD-A8EF-798C8720FFBD}" type="slidenum">
              <a:rPr lang="es-CL"/>
              <a:pPr>
                <a:defRPr/>
              </a:pPr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6911855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49C9CB-65CD-48EE-B715-7BEFE10B93E8}" type="datetimeFigureOut">
              <a:rPr lang="es-CL"/>
              <a:pPr>
                <a:defRPr/>
              </a:pPr>
              <a:t>26-09-2016</a:t>
            </a:fld>
            <a:endParaRPr lang="es-CL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0F69B4-FFC7-4F8F-9B17-E385F9381562}" type="slidenum">
              <a:rPr lang="es-CL"/>
              <a:pPr>
                <a:defRPr/>
              </a:pPr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87983669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888671-D9A1-4669-A0BD-2AE133507242}" type="datetimeFigureOut">
              <a:rPr lang="es-CL"/>
              <a:pPr>
                <a:defRPr/>
              </a:pPr>
              <a:t>26-09-2016</a:t>
            </a:fld>
            <a:endParaRPr lang="es-CL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021C94-1C4D-4A2A-BB81-B3395921B2D6}" type="slidenum">
              <a:rPr lang="es-CL"/>
              <a:pPr>
                <a:defRPr/>
              </a:pPr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2648560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FE8CAFC-0DDB-4F08-8D68-EAAEA8998836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BEF51903-DC29-4E4C-907D-F005624C9D4B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28267894"/>
      </p:ext>
    </p:extLst>
  </p:cSld>
  <p:clrMapOvr>
    <a:masterClrMapping/>
  </p:clrMapOvr>
  <p:transition>
    <p:wipe dir="d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marL="0" algn="l" defTabSz="914400" rtl="0" eaLnBrk="1" latinLnBrk="0" hangingPunct="1">
              <a:defRPr lang="es-CL" sz="3200" b="1" kern="1200" spc="-150" dirty="0">
                <a:solidFill>
                  <a:srgbClr val="0070C0"/>
                </a:solidFill>
                <a:latin typeface="Segoe UI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BF8FCC96-94F6-4F3E-A0A5-83BBD15452A5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0C4EE7B6-F022-4CC8-8C6C-DA374583D4E0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090282178"/>
      </p:ext>
    </p:extLst>
  </p:cSld>
  <p:clrMapOvr>
    <a:masterClrMapping/>
  </p:clrMapOvr>
  <p:transition>
    <p:wipe dir="d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1AADB447-48FC-4CDB-AF4F-7F60EE34FBD5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0777D427-8790-4551-80D4-77AB7DA9CF62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326943899"/>
      </p:ext>
    </p:extLst>
  </p:cSld>
  <p:clrMapOvr>
    <a:masterClrMapping/>
  </p:clrMapOvr>
  <p:transition>
    <p:wipe dir="d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5A9A3DC3-FCC9-444C-A62F-58ABFE831B4B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34E444A-A35D-4362-BD5F-D0C641890CA0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639737787"/>
      </p:ext>
    </p:extLst>
  </p:cSld>
  <p:clrMapOvr>
    <a:masterClrMapping/>
  </p:clrMapOvr>
  <p:transition>
    <p:wipe dir="d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6220AF9-7F01-48CB-8DF7-8F32193934C9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5A355D7C-07AC-46EF-82C3-E0648199B75A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69672085"/>
      </p:ext>
    </p:extLst>
  </p:cSld>
  <p:clrMapOvr>
    <a:masterClrMapping/>
  </p:clrMapOvr>
  <p:transition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41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4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C92FF-C3F0-420F-BD27-C60142CAF0AE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622DD7-3759-4673-BDC6-A68DB6A95623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03579861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447A5AF-48F7-4FBF-A6FB-9A836605AA2E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1352DE62-3A69-4131-8995-52B208C40C7A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50965691"/>
      </p:ext>
    </p:extLst>
  </p:cSld>
  <p:clrMapOvr>
    <a:masterClrMapping/>
  </p:clrMapOvr>
  <p:transition>
    <p:wipe dir="d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007622A-6379-477E-A067-D27F8B3AC657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BA39A36C-905F-4451-B6CA-3ADD336A2D73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375724141"/>
      </p:ext>
    </p:extLst>
  </p:cSld>
  <p:clrMapOvr>
    <a:masterClrMapping/>
  </p:clrMapOvr>
  <p:transition>
    <p:wipe dir="d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5E23EB0C-363C-424C-99A1-3DC60CE973A7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A4BEF79-7CCA-422A-BE40-B89531320AFA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29782573"/>
      </p:ext>
    </p:extLst>
  </p:cSld>
  <p:clrMapOvr>
    <a:masterClrMapping/>
  </p:clrMapOvr>
  <p:transition>
    <p:wipe dir="d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CL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0CA6B5F-010E-418A-9104-FDAA150125C3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2480EE4-16D2-425A-941D-2D039C3A428B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473945555"/>
      </p:ext>
    </p:extLst>
  </p:cSld>
  <p:clrMapOvr>
    <a:masterClrMapping/>
  </p:clrMapOvr>
  <p:transition>
    <p:wipe dir="d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4F24A63-E4DB-4CD4-88B0-4805473CCD08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E7BAAD0C-AE60-42D0-B7ED-289D7C8FCFDF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473393839"/>
      </p:ext>
    </p:extLst>
  </p:cSld>
  <p:clrMapOvr>
    <a:masterClrMapping/>
  </p:clrMapOvr>
  <p:transition>
    <p:wipe dir="d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FA0A28B-27BD-4F85-BFEE-4E69D8D9AF69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0B3CC5B-551C-427C-A5D9-2C6B2725E598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05123537"/>
      </p:ext>
    </p:extLst>
  </p:cSld>
  <p:clrMapOvr>
    <a:masterClrMapping/>
  </p:clrMapOvr>
  <p:transition>
    <p:wipe dir="d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8082111-4B18-4DF2-BBCB-F5A08A481E8D}" type="datetime1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1219C927-EF45-42EF-BA0E-DDE6E44930F5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4913976"/>
      </p:ext>
    </p:extLst>
  </p:cSld>
  <p:clrMapOvr>
    <a:masterClrMapping/>
  </p:clrMapOvr>
  <p:transition>
    <p:wipe dir="d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marL="0" algn="l" defTabSz="914400" rtl="0" eaLnBrk="1" latinLnBrk="0" hangingPunct="1">
              <a:defRPr lang="es-CL" sz="3200" b="1" kern="1200" spc="-150" dirty="0">
                <a:solidFill>
                  <a:srgbClr val="0070C0"/>
                </a:solidFill>
                <a:latin typeface="Segoe UI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D3CDC60-57CC-4EE5-8B6D-D3E096851FF1}" type="datetime1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5C87825-A2A5-4641-8A38-913316974C56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14124995"/>
      </p:ext>
    </p:extLst>
  </p:cSld>
  <p:clrMapOvr>
    <a:masterClrMapping/>
  </p:clrMapOvr>
  <p:transition>
    <p:wipe dir="d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6E8E9F3-B4A4-421D-BAF1-80AE1F3A62A9}" type="datetime1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886966F-97A7-468E-991B-CD903CE6E3E8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68466005"/>
      </p:ext>
    </p:extLst>
  </p:cSld>
  <p:clrMapOvr>
    <a:masterClrMapping/>
  </p:clrMapOvr>
  <p:transition>
    <p:wipe dir="d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D1A704D-7AE2-4B84-9124-2E647E14C1EE}" type="datetime1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0F40AE4E-8C2A-4B82-8629-38455BD9DD43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22906848"/>
      </p:ext>
    </p:extLst>
  </p:cSld>
  <p:clrMapOvr>
    <a:masterClrMapping/>
  </p:clrMapOvr>
  <p:transition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E6E04B-20D0-44AA-97BD-F21E7BB1FA87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82AB4A-D0C9-44F9-BDBC-B30DC0E24C28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53005992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477CE8F-6A80-455A-9D03-97FE9664EF76}" type="datetime1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FC9773FD-1930-4ACA-BFEE-E76EF3B4A843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07966399"/>
      </p:ext>
    </p:extLst>
  </p:cSld>
  <p:clrMapOvr>
    <a:masterClrMapping/>
  </p:clrMapOvr>
  <p:transition>
    <p:wipe dir="d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1CC8A21A-61D5-49FD-8992-F6F6DB6F7121}" type="datetime1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16ECB2D-F4E7-4616-A08A-5C4EB5A91DEE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88218473"/>
      </p:ext>
    </p:extLst>
  </p:cSld>
  <p:clrMapOvr>
    <a:masterClrMapping/>
  </p:clrMapOvr>
  <p:transition>
    <p:wipe dir="d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E5E95CEE-897C-4A92-808E-F8DC8D5BDA88}" type="datetime1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9ECDC7-EC73-425B-96FE-1D2252C9692F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952994173"/>
      </p:ext>
    </p:extLst>
  </p:cSld>
  <p:clrMapOvr>
    <a:masterClrMapping/>
  </p:clrMapOvr>
  <p:transition>
    <p:wipe dir="d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EC8B96CB-1F1B-493E-BAA9-D15EEAA86DA1}" type="datetime1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09F156D-BAF7-436C-A1DE-24A08C622AFC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068323739"/>
      </p:ext>
    </p:extLst>
  </p:cSld>
  <p:clrMapOvr>
    <a:masterClrMapping/>
  </p:clrMapOvr>
  <p:transition>
    <p:wipe dir="d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CL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840E3E0-D36B-4890-964B-9FEB7A383082}" type="datetime1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8513C73-1C46-47EE-A6CE-487422CF8CA3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86489133"/>
      </p:ext>
    </p:extLst>
  </p:cSld>
  <p:clrMapOvr>
    <a:masterClrMapping/>
  </p:clrMapOvr>
  <p:transition>
    <p:wipe dir="d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E95BE7A6-9B78-43D7-92D8-2FB8B2208E97}" type="datetime1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4DD48B3-8ED0-49E0-85E1-2C6B8237DD3B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223540332"/>
      </p:ext>
    </p:extLst>
  </p:cSld>
  <p:clrMapOvr>
    <a:masterClrMapping/>
  </p:clrMapOvr>
  <p:transition>
    <p:wipe dir="d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E382B6E-81EC-4DAD-9423-509A0AB53D88}" type="datetime1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8B038F5-6800-4B20-B358-7EE58A345471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14314615"/>
      </p:ext>
    </p:extLst>
  </p:cSld>
  <p:clrMapOvr>
    <a:masterClrMapping/>
  </p:clrMapOvr>
  <p:transition>
    <p:wipe dir="d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8082111-4B18-4DF2-BBCB-F5A08A481E8D}" type="datetime1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FEACB71-246A-4D63-BC5A-E9D9127E080B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572237726"/>
      </p:ext>
    </p:extLst>
  </p:cSld>
  <p:clrMapOvr>
    <a:masterClrMapping/>
  </p:clrMapOvr>
  <p:transition>
    <p:wipe dir="d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marL="0" algn="l" defTabSz="914400" rtl="0" eaLnBrk="1" latinLnBrk="0" hangingPunct="1">
              <a:defRPr lang="es-CL" sz="3200" b="1" kern="1200" spc="-150" dirty="0">
                <a:solidFill>
                  <a:srgbClr val="0070C0"/>
                </a:solidFill>
                <a:latin typeface="Segoe UI" pitchFamily="34" charset="0"/>
                <a:ea typeface="+mn-ea"/>
                <a:cs typeface="Segoe UI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D3CDC60-57CC-4EE5-8B6D-D3E096851FF1}" type="datetime1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256674D-8757-44CE-9B45-E85959C4E8F5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25734088"/>
      </p:ext>
    </p:extLst>
  </p:cSld>
  <p:clrMapOvr>
    <a:masterClrMapping/>
  </p:clrMapOvr>
  <p:transition>
    <p:wipe dir="d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6E8E9F3-B4A4-421D-BAF1-80AE1F3A62A9}" type="datetime1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A0ABC2E-525D-4DD8-8259-E467AFE9D88B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011046924"/>
      </p:ext>
    </p:extLst>
  </p:cSld>
  <p:clrMapOvr>
    <a:masterClrMapping/>
  </p:clrMapOvr>
  <p:transition>
    <p:wipe dir="d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2BBE92-40F8-4379-94B9-3D34C2D4A4F3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FDF54-D110-4FB6-B739-F9FF7B6ED1AE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1322668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D1A704D-7AE2-4B84-9124-2E647E14C1EE}" type="datetime1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033C182-D4DC-4141-A4C7-AF14FFA5796E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186205932"/>
      </p:ext>
    </p:extLst>
  </p:cSld>
  <p:clrMapOvr>
    <a:masterClrMapping/>
  </p:clrMapOvr>
  <p:transition>
    <p:wipe dir="d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477CE8F-6A80-455A-9D03-97FE9664EF76}" type="datetime1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5F84D4B6-CCB4-4813-8E1C-B482988E6CE5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805880782"/>
      </p:ext>
    </p:extLst>
  </p:cSld>
  <p:clrMapOvr>
    <a:masterClrMapping/>
  </p:clrMapOvr>
  <p:transition>
    <p:wipe dir="d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1CC8A21A-61D5-49FD-8992-F6F6DB6F7121}" type="datetime1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049F370-BD75-45F6-A39F-24FD6D8761BE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377356694"/>
      </p:ext>
    </p:extLst>
  </p:cSld>
  <p:clrMapOvr>
    <a:masterClrMapping/>
  </p:clrMapOvr>
  <p:transition>
    <p:wipe dir="d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E5E95CEE-897C-4A92-808E-F8DC8D5BDA88}" type="datetime1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F8E95F17-E375-41B2-A7BF-3E549A90A630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211367416"/>
      </p:ext>
    </p:extLst>
  </p:cSld>
  <p:clrMapOvr>
    <a:masterClrMapping/>
  </p:clrMapOvr>
  <p:transition>
    <p:wipe dir="d"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EC8B96CB-1F1B-493E-BAA9-D15EEAA86DA1}" type="datetime1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50BB9D8-312A-437A-8C9E-48D5A893D4B7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8799657"/>
      </p:ext>
    </p:extLst>
  </p:cSld>
  <p:clrMapOvr>
    <a:masterClrMapping/>
  </p:clrMapOvr>
  <p:transition>
    <p:wipe dir="d"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CL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840E3E0-D36B-4890-964B-9FEB7A383082}" type="datetime1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BE14BBB9-5217-47A2-BB4A-1152358CA65B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021589156"/>
      </p:ext>
    </p:extLst>
  </p:cSld>
  <p:clrMapOvr>
    <a:masterClrMapping/>
  </p:clrMapOvr>
  <p:transition>
    <p:wipe dir="d"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E95BE7A6-9B78-43D7-92D8-2FB8B2208E97}" type="datetime1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6124294-DB62-49BA-999D-709407A665DB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56334686"/>
      </p:ext>
    </p:extLst>
  </p:cSld>
  <p:clrMapOvr>
    <a:masterClrMapping/>
  </p:clrMapOvr>
  <p:transition>
    <p:wipe dir="d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E382B6E-81EC-4DAD-9423-509A0AB53D88}" type="datetime1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5709DBA8-432F-451D-99C3-32309E2E431B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351853126"/>
      </p:ext>
    </p:extLst>
  </p:cSld>
  <p:clrMapOvr>
    <a:masterClrMapping/>
  </p:clrMapOvr>
  <p:transition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8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C8EF2B-4C93-402B-A923-8FCAABAB8AEA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7FD7C6-C777-4BD9-8715-F57A883AED84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732706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CL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13CFA8-BC70-4890-8030-ACFAAA4B2B73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AEB3ED-5DE6-4D72-AA9B-D35D3F07AECA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9419594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CL" smtClean="0"/>
              <a:t>Haga clic para modificar el estilo de título del patrón</a:t>
            </a:r>
            <a:endParaRPr lang="es-CL" altLang="es-CL" smtClean="0"/>
          </a:p>
        </p:txBody>
      </p:sp>
      <p:sp>
        <p:nvSpPr>
          <p:cNvPr id="1027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CL" smtClean="0"/>
              <a:t>Haga clic para modificar el estilo de texto del patrón</a:t>
            </a:r>
          </a:p>
          <a:p>
            <a:pPr lvl="1"/>
            <a:r>
              <a:rPr lang="es-ES" altLang="es-CL" smtClean="0"/>
              <a:t>Segundo nivel</a:t>
            </a:r>
          </a:p>
          <a:p>
            <a:pPr lvl="2"/>
            <a:r>
              <a:rPr lang="es-ES" altLang="es-CL" smtClean="0"/>
              <a:t>Tercer nivel</a:t>
            </a:r>
          </a:p>
          <a:p>
            <a:pPr lvl="3"/>
            <a:r>
              <a:rPr lang="es-ES" altLang="es-CL" smtClean="0"/>
              <a:t>Cuarto nivel</a:t>
            </a:r>
          </a:p>
          <a:p>
            <a:pPr lvl="4"/>
            <a:r>
              <a:rPr lang="es-ES" altLang="es-CL" smtClean="0"/>
              <a:t>Quinto nivel</a:t>
            </a:r>
            <a:endParaRPr lang="es-CL" altLang="es-CL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A67FDAD-D70A-4B95-A79A-794DD71B04CE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42BD6D6-F369-401A-8F2C-F28C9776CD2D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470" r:id="rId1"/>
    <p:sldLayoutId id="2147487471" r:id="rId2"/>
    <p:sldLayoutId id="2147487472" r:id="rId3"/>
    <p:sldLayoutId id="2147487473" r:id="rId4"/>
    <p:sldLayoutId id="2147487474" r:id="rId5"/>
    <p:sldLayoutId id="2147487475" r:id="rId6"/>
    <p:sldLayoutId id="2147487476" r:id="rId7"/>
    <p:sldLayoutId id="2147487477" r:id="rId8"/>
    <p:sldLayoutId id="2147487478" r:id="rId9"/>
    <p:sldLayoutId id="2147487479" r:id="rId10"/>
    <p:sldLayoutId id="2147487480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CL" smtClean="0"/>
              <a:t>Haga clic para modificar el estilo de título del patrón</a:t>
            </a:r>
            <a:endParaRPr lang="es-CL" altLang="es-CL" smtClean="0"/>
          </a:p>
        </p:txBody>
      </p:sp>
      <p:sp>
        <p:nvSpPr>
          <p:cNvPr id="3075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CL" smtClean="0"/>
              <a:t>Haga clic para modificar el estilo de texto del patrón</a:t>
            </a:r>
          </a:p>
          <a:p>
            <a:pPr lvl="1"/>
            <a:r>
              <a:rPr lang="es-ES" altLang="es-CL" smtClean="0"/>
              <a:t>Segundo nivel</a:t>
            </a:r>
          </a:p>
          <a:p>
            <a:pPr lvl="2"/>
            <a:r>
              <a:rPr lang="es-ES" altLang="es-CL" smtClean="0"/>
              <a:t>Tercer nivel</a:t>
            </a:r>
          </a:p>
          <a:p>
            <a:pPr lvl="3"/>
            <a:r>
              <a:rPr lang="es-ES" altLang="es-CL" smtClean="0"/>
              <a:t>Cuarto nivel</a:t>
            </a:r>
          </a:p>
          <a:p>
            <a:pPr lvl="4"/>
            <a:r>
              <a:rPr lang="es-ES" altLang="es-CL" smtClean="0"/>
              <a:t>Quinto nivel</a:t>
            </a:r>
            <a:endParaRPr lang="es-CL" altLang="es-CL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fld id="{16B1592D-5A76-41E6-8E06-7EF3F1CEE514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fld id="{A00E935D-B923-462F-B62F-9A651780E88E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569" r:id="rId1"/>
    <p:sldLayoutId id="2147487570" r:id="rId2"/>
    <p:sldLayoutId id="2147487571" r:id="rId3"/>
    <p:sldLayoutId id="2147487572" r:id="rId4"/>
    <p:sldLayoutId id="2147487573" r:id="rId5"/>
    <p:sldLayoutId id="2147487574" r:id="rId6"/>
    <p:sldLayoutId id="2147487575" r:id="rId7"/>
    <p:sldLayoutId id="2147487576" r:id="rId8"/>
    <p:sldLayoutId id="2147487577" r:id="rId9"/>
    <p:sldLayoutId id="2147487578" r:id="rId10"/>
    <p:sldLayoutId id="214748757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CL" smtClean="0"/>
              <a:t>Haga clic para modificar el estilo de título del patrón</a:t>
            </a:r>
            <a:endParaRPr lang="es-CL" altLang="es-CL" smtClean="0"/>
          </a:p>
        </p:txBody>
      </p:sp>
      <p:sp>
        <p:nvSpPr>
          <p:cNvPr id="6147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CL" smtClean="0"/>
              <a:t>Haga clic para modificar el estilo de texto del patrón</a:t>
            </a:r>
          </a:p>
          <a:p>
            <a:pPr lvl="1"/>
            <a:r>
              <a:rPr lang="es-ES" altLang="es-CL" smtClean="0"/>
              <a:t>Segundo nivel</a:t>
            </a:r>
          </a:p>
          <a:p>
            <a:pPr lvl="2"/>
            <a:r>
              <a:rPr lang="es-ES" altLang="es-CL" smtClean="0"/>
              <a:t>Tercer nivel</a:t>
            </a:r>
          </a:p>
          <a:p>
            <a:pPr lvl="3"/>
            <a:r>
              <a:rPr lang="es-ES" altLang="es-CL" smtClean="0"/>
              <a:t>Cuarto nivel</a:t>
            </a:r>
          </a:p>
          <a:p>
            <a:pPr lvl="4"/>
            <a:r>
              <a:rPr lang="es-ES" altLang="es-CL" smtClean="0"/>
              <a:t>Quinto nivel</a:t>
            </a:r>
            <a:endParaRPr lang="es-CL" altLang="es-CL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898989"/>
                </a:solidFill>
                <a:latin typeface="Calibri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9666C86C-F6FE-4198-B6FC-E8258072DF33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898989"/>
                </a:solidFill>
                <a:latin typeface="Calibri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769C4981-723F-4797-8115-CFEF936E2ECE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580" r:id="rId1"/>
    <p:sldLayoutId id="2147487581" r:id="rId2"/>
    <p:sldLayoutId id="2147487582" r:id="rId3"/>
    <p:sldLayoutId id="2147487583" r:id="rId4"/>
    <p:sldLayoutId id="2147487584" r:id="rId5"/>
    <p:sldLayoutId id="2147487585" r:id="rId6"/>
    <p:sldLayoutId id="2147487586" r:id="rId7"/>
    <p:sldLayoutId id="2147487587" r:id="rId8"/>
    <p:sldLayoutId id="2147487588" r:id="rId9"/>
    <p:sldLayoutId id="2147487589" r:id="rId10"/>
    <p:sldLayoutId id="2147487590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CL" smtClean="0"/>
              <a:t>Haga clic para modificar el estilo de título del patrón</a:t>
            </a:r>
            <a:endParaRPr lang="es-CL" altLang="es-CL" smtClean="0"/>
          </a:p>
        </p:txBody>
      </p:sp>
      <p:sp>
        <p:nvSpPr>
          <p:cNvPr id="7171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CL" smtClean="0"/>
              <a:t>Haga clic para modificar el estilo de texto del patrón</a:t>
            </a:r>
          </a:p>
          <a:p>
            <a:pPr lvl="1"/>
            <a:r>
              <a:rPr lang="es-ES" altLang="es-CL" smtClean="0"/>
              <a:t>Segundo nivel</a:t>
            </a:r>
          </a:p>
          <a:p>
            <a:pPr lvl="2"/>
            <a:r>
              <a:rPr lang="es-ES" altLang="es-CL" smtClean="0"/>
              <a:t>Tercer nivel</a:t>
            </a:r>
          </a:p>
          <a:p>
            <a:pPr lvl="3"/>
            <a:r>
              <a:rPr lang="es-ES" altLang="es-CL" smtClean="0"/>
              <a:t>Cuarto nivel</a:t>
            </a:r>
          </a:p>
          <a:p>
            <a:pPr lvl="4"/>
            <a:r>
              <a:rPr lang="es-ES" altLang="es-CL" smtClean="0"/>
              <a:t>Quinto nivel</a:t>
            </a:r>
            <a:endParaRPr lang="es-CL" altLang="es-CL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E26A4B1-3F86-4441-9011-395C719CFD94}" type="datetimeFigureOut">
              <a:rPr lang="es-CL"/>
              <a:pPr>
                <a:defRPr/>
              </a:pPr>
              <a:t>26-09-2016</a:t>
            </a:fld>
            <a:endParaRPr lang="es-CL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9975434-3822-4529-8308-A41F2751BCA0}" type="slidenum">
              <a:rPr lang="es-CL"/>
              <a:pPr>
                <a:defRPr/>
              </a:pPr>
              <a:t>‹Nº›</a:t>
            </a:fld>
            <a:endParaRPr lang="es-CL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503" r:id="rId1"/>
    <p:sldLayoutId id="2147487504" r:id="rId2"/>
    <p:sldLayoutId id="2147487505" r:id="rId3"/>
    <p:sldLayoutId id="2147487506" r:id="rId4"/>
    <p:sldLayoutId id="2147487507" r:id="rId5"/>
    <p:sldLayoutId id="2147487508" r:id="rId6"/>
    <p:sldLayoutId id="2147487509" r:id="rId7"/>
    <p:sldLayoutId id="2147487510" r:id="rId8"/>
    <p:sldLayoutId id="2147487511" r:id="rId9"/>
    <p:sldLayoutId id="2147487512" r:id="rId10"/>
    <p:sldLayoutId id="2147487513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s-CL" smtClean="0"/>
          </a:p>
        </p:txBody>
      </p:sp>
      <p:sp>
        <p:nvSpPr>
          <p:cNvPr id="13315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fld id="{7E469EC2-50EF-4093-A691-FE71AEE7675A}" type="datetimeFigureOut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fld id="{F9309D6F-2F21-419D-86C3-A7719DB40B71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602" r:id="rId1"/>
    <p:sldLayoutId id="2147487603" r:id="rId2"/>
    <p:sldLayoutId id="2147487604" r:id="rId3"/>
    <p:sldLayoutId id="2147487605" r:id="rId4"/>
    <p:sldLayoutId id="2147487606" r:id="rId5"/>
    <p:sldLayoutId id="2147487607" r:id="rId6"/>
    <p:sldLayoutId id="2147487608" r:id="rId7"/>
    <p:sldLayoutId id="2147487609" r:id="rId8"/>
    <p:sldLayoutId id="2147487610" r:id="rId9"/>
    <p:sldLayoutId id="2147487611" r:id="rId10"/>
    <p:sldLayoutId id="2147487612" r:id="rId11"/>
  </p:sldLayoutIdLst>
  <p:transition>
    <p:wipe dir="d"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s-CL" smtClean="0"/>
          </a:p>
        </p:txBody>
      </p:sp>
      <p:sp>
        <p:nvSpPr>
          <p:cNvPr id="20483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fld id="{66F65F18-D422-4930-81D1-406F4BCAA430}" type="datetime1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fld id="{73A085BB-F351-42DB-B106-826062119E48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679" r:id="rId1"/>
    <p:sldLayoutId id="2147487680" r:id="rId2"/>
    <p:sldLayoutId id="2147487681" r:id="rId3"/>
    <p:sldLayoutId id="2147487682" r:id="rId4"/>
    <p:sldLayoutId id="2147487683" r:id="rId5"/>
    <p:sldLayoutId id="2147487684" r:id="rId6"/>
    <p:sldLayoutId id="2147487685" r:id="rId7"/>
    <p:sldLayoutId id="2147487686" r:id="rId8"/>
    <p:sldLayoutId id="2147487687" r:id="rId9"/>
    <p:sldLayoutId id="2147487688" r:id="rId10"/>
    <p:sldLayoutId id="2147487689" r:id="rId11"/>
  </p:sldLayoutIdLst>
  <p:transition>
    <p:wipe dir="d"/>
  </p:transition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s-CL" smtClean="0"/>
          </a:p>
        </p:txBody>
      </p:sp>
      <p:sp>
        <p:nvSpPr>
          <p:cNvPr id="21507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fld id="{66F65F18-D422-4930-81D1-406F4BCAA430}" type="datetime1">
              <a:rPr lang="es-CL"/>
              <a:pPr>
                <a:defRPr/>
              </a:pPr>
              <a:t>26-09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fld id="{7DCCDFEE-D254-4583-AFBC-DCCB09E70570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690" r:id="rId1"/>
    <p:sldLayoutId id="2147487691" r:id="rId2"/>
    <p:sldLayoutId id="2147487692" r:id="rId3"/>
    <p:sldLayoutId id="2147487693" r:id="rId4"/>
    <p:sldLayoutId id="2147487694" r:id="rId5"/>
    <p:sldLayoutId id="2147487695" r:id="rId6"/>
    <p:sldLayoutId id="2147487696" r:id="rId7"/>
    <p:sldLayoutId id="2147487697" r:id="rId8"/>
    <p:sldLayoutId id="2147487698" r:id="rId9"/>
    <p:sldLayoutId id="2147487699" r:id="rId10"/>
    <p:sldLayoutId id="2147487700" r:id="rId11"/>
  </p:sldLayoutIdLst>
  <p:transition>
    <p:wipe dir="d"/>
  </p:transition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13" Type="http://schemas.openxmlformats.org/officeDocument/2006/relationships/image" Target="../media/image15.png"/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12" Type="http://schemas.microsoft.com/office/2007/relationships/hdphoto" Target="../media/hdphoto3.wdp"/><Relationship Id="rId17" Type="http://schemas.openxmlformats.org/officeDocument/2006/relationships/image" Target="../media/image19.png"/><Relationship Id="rId2" Type="http://schemas.openxmlformats.org/officeDocument/2006/relationships/vmlDrawing" Target="../drawings/vmlDrawing4.vml"/><Relationship Id="rId16" Type="http://schemas.openxmlformats.org/officeDocument/2006/relationships/image" Target="../media/image18.png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5.png"/><Relationship Id="rId11" Type="http://schemas.openxmlformats.org/officeDocument/2006/relationships/image" Target="../media/image14.png"/><Relationship Id="rId5" Type="http://schemas.openxmlformats.org/officeDocument/2006/relationships/notesSlide" Target="../notesSlides/notesSlide6.xml"/><Relationship Id="rId15" Type="http://schemas.openxmlformats.org/officeDocument/2006/relationships/image" Target="../media/image17.png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46.xml"/><Relationship Id="rId9" Type="http://schemas.openxmlformats.org/officeDocument/2006/relationships/image" Target="../media/image12.jpeg"/><Relationship Id="rId1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7.xml"/><Relationship Id="rId7" Type="http://schemas.openxmlformats.org/officeDocument/2006/relationships/oleObject" Target="../embeddings/oleObject5.bin"/><Relationship Id="rId2" Type="http://schemas.openxmlformats.org/officeDocument/2006/relationships/vmlDrawing" Target="../drawings/vmlDrawing5.v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5.png"/><Relationship Id="rId11" Type="http://schemas.openxmlformats.org/officeDocument/2006/relationships/image" Target="../media/image20.png"/><Relationship Id="rId5" Type="http://schemas.openxmlformats.org/officeDocument/2006/relationships/notesSlide" Target="../notesSlides/notesSlide7.xml"/><Relationship Id="rId10" Type="http://schemas.microsoft.com/office/2007/relationships/hdphoto" Target="../media/hdphoto2.wdp"/><Relationship Id="rId4" Type="http://schemas.openxmlformats.org/officeDocument/2006/relationships/slideLayout" Target="../slideLayouts/slideLayout46.xml"/><Relationship Id="rId9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22.png"/><Relationship Id="rId5" Type="http://schemas.openxmlformats.org/officeDocument/2006/relationships/hyperlink" Target="https://www.candidatotransparente.cl/ct/" TargetMode="External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50.xml"/><Relationship Id="rId1" Type="http://schemas.openxmlformats.org/officeDocument/2006/relationships/themeOverride" Target="../theme/themeOverride10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50.xml"/><Relationship Id="rId1" Type="http://schemas.openxmlformats.org/officeDocument/2006/relationships/themeOverride" Target="../theme/themeOverride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50.xml"/><Relationship Id="rId1" Type="http://schemas.openxmlformats.org/officeDocument/2006/relationships/themeOverride" Target="../theme/themeOverride12.xml"/><Relationship Id="rId4" Type="http://schemas.openxmlformats.org/officeDocument/2006/relationships/image" Target="../media/image25.jp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3" Type="http://schemas.openxmlformats.org/officeDocument/2006/relationships/image" Target="../media/image5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slideLayout" Target="../slideLayouts/slideLayout50.xml"/><Relationship Id="rId1" Type="http://schemas.openxmlformats.org/officeDocument/2006/relationships/themeOverride" Target="../theme/themeOverride13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jpe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notesSlide" Target="../notesSlides/notesSlide8.xml"/><Relationship Id="rId7" Type="http://schemas.openxmlformats.org/officeDocument/2006/relationships/diagramQuickStyle" Target="../diagrams/quickStyle2.xml"/><Relationship Id="rId2" Type="http://schemas.openxmlformats.org/officeDocument/2006/relationships/slideLayout" Target="../slideLayouts/slideLayout68.xml"/><Relationship Id="rId1" Type="http://schemas.openxmlformats.org/officeDocument/2006/relationships/themeOverride" Target="../theme/themeOverride14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image" Target="../media/image5.png"/><Relationship Id="rId9" Type="http://schemas.microsoft.com/office/2007/relationships/diagramDrawing" Target="../diagrams/drawing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13" Type="http://schemas.openxmlformats.org/officeDocument/2006/relationships/oleObject" Target="../embeddings/oleObject6.bin"/><Relationship Id="rId3" Type="http://schemas.openxmlformats.org/officeDocument/2006/relationships/tags" Target="../tags/tag8.xml"/><Relationship Id="rId7" Type="http://schemas.openxmlformats.org/officeDocument/2006/relationships/image" Target="../media/image5.png"/><Relationship Id="rId12" Type="http://schemas.microsoft.com/office/2007/relationships/diagramDrawing" Target="../diagrams/drawing3.xml"/><Relationship Id="rId2" Type="http://schemas.openxmlformats.org/officeDocument/2006/relationships/vmlDrawing" Target="../drawings/vmlDrawing6.vml"/><Relationship Id="rId1" Type="http://schemas.openxmlformats.org/officeDocument/2006/relationships/themeOverride" Target="../theme/themeOverride15.xml"/><Relationship Id="rId6" Type="http://schemas.openxmlformats.org/officeDocument/2006/relationships/notesSlide" Target="../notesSlides/notesSlide9.xml"/><Relationship Id="rId11" Type="http://schemas.openxmlformats.org/officeDocument/2006/relationships/diagramColors" Target="../diagrams/colors3.xml"/><Relationship Id="rId5" Type="http://schemas.openxmlformats.org/officeDocument/2006/relationships/slideLayout" Target="../slideLayouts/slideLayout57.xml"/><Relationship Id="rId10" Type="http://schemas.openxmlformats.org/officeDocument/2006/relationships/diagramQuickStyle" Target="../diagrams/quickStyle3.xml"/><Relationship Id="rId4" Type="http://schemas.openxmlformats.org/officeDocument/2006/relationships/tags" Target="../tags/tag9.xml"/><Relationship Id="rId9" Type="http://schemas.openxmlformats.org/officeDocument/2006/relationships/diagramLayout" Target="../diagrams/layout3.xml"/><Relationship Id="rId14" Type="http://schemas.openxmlformats.org/officeDocument/2006/relationships/image" Target="../media/image37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43.jpeg"/><Relationship Id="rId3" Type="http://schemas.openxmlformats.org/officeDocument/2006/relationships/tags" Target="../tags/tag10.xml"/><Relationship Id="rId7" Type="http://schemas.openxmlformats.org/officeDocument/2006/relationships/image" Target="../media/image5.png"/><Relationship Id="rId12" Type="http://schemas.openxmlformats.org/officeDocument/2006/relationships/image" Target="../media/image42.png"/><Relationship Id="rId2" Type="http://schemas.openxmlformats.org/officeDocument/2006/relationships/vmlDrawing" Target="../drawings/vmlDrawing7.vml"/><Relationship Id="rId16" Type="http://schemas.openxmlformats.org/officeDocument/2006/relationships/image" Target="../media/image46.jpg"/><Relationship Id="rId1" Type="http://schemas.openxmlformats.org/officeDocument/2006/relationships/themeOverride" Target="../theme/themeOverride16.xml"/><Relationship Id="rId6" Type="http://schemas.openxmlformats.org/officeDocument/2006/relationships/notesSlide" Target="../notesSlides/notesSlide10.xml"/><Relationship Id="rId11" Type="http://schemas.openxmlformats.org/officeDocument/2006/relationships/image" Target="../media/image41.png"/><Relationship Id="rId5" Type="http://schemas.openxmlformats.org/officeDocument/2006/relationships/slideLayout" Target="../slideLayouts/slideLayout68.xml"/><Relationship Id="rId15" Type="http://schemas.openxmlformats.org/officeDocument/2006/relationships/image" Target="../media/image45.jpeg"/><Relationship Id="rId10" Type="http://schemas.openxmlformats.org/officeDocument/2006/relationships/image" Target="../media/image40.jpeg"/><Relationship Id="rId4" Type="http://schemas.openxmlformats.org/officeDocument/2006/relationships/tags" Target="../tags/tag11.xml"/><Relationship Id="rId9" Type="http://schemas.openxmlformats.org/officeDocument/2006/relationships/image" Target="../media/image37.emf"/><Relationship Id="rId14" Type="http://schemas.openxmlformats.org/officeDocument/2006/relationships/image" Target="../media/image4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5.png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73.x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17.png"/><Relationship Id="rId5" Type="http://schemas.openxmlformats.org/officeDocument/2006/relationships/image" Target="../media/image48.jpeg"/><Relationship Id="rId10" Type="http://schemas.openxmlformats.org/officeDocument/2006/relationships/image" Target="../media/image50.png"/><Relationship Id="rId4" Type="http://schemas.openxmlformats.org/officeDocument/2006/relationships/image" Target="../media/image47.jpeg"/><Relationship Id="rId9" Type="http://schemas.openxmlformats.org/officeDocument/2006/relationships/image" Target="../media/image49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13" Type="http://schemas.openxmlformats.org/officeDocument/2006/relationships/image" Target="../media/image49.jpeg"/><Relationship Id="rId3" Type="http://schemas.openxmlformats.org/officeDocument/2006/relationships/tags" Target="../tags/tag12.xml"/><Relationship Id="rId7" Type="http://schemas.openxmlformats.org/officeDocument/2006/relationships/image" Target="../media/image5.png"/><Relationship Id="rId12" Type="http://schemas.openxmlformats.org/officeDocument/2006/relationships/image" Target="../media/image18.png"/><Relationship Id="rId2" Type="http://schemas.openxmlformats.org/officeDocument/2006/relationships/vmlDrawing" Target="../drawings/vmlDrawing8.vml"/><Relationship Id="rId1" Type="http://schemas.openxmlformats.org/officeDocument/2006/relationships/themeOverride" Target="../theme/themeOverride18.xml"/><Relationship Id="rId6" Type="http://schemas.openxmlformats.org/officeDocument/2006/relationships/notesSlide" Target="../notesSlides/notesSlide11.xml"/><Relationship Id="rId11" Type="http://schemas.openxmlformats.org/officeDocument/2006/relationships/image" Target="../media/image16.png"/><Relationship Id="rId5" Type="http://schemas.openxmlformats.org/officeDocument/2006/relationships/slideLayout" Target="../slideLayouts/slideLayout68.xml"/><Relationship Id="rId10" Type="http://schemas.openxmlformats.org/officeDocument/2006/relationships/image" Target="../media/image47.jpeg"/><Relationship Id="rId4" Type="http://schemas.openxmlformats.org/officeDocument/2006/relationships/tags" Target="../tags/tag13.xml"/><Relationship Id="rId9" Type="http://schemas.openxmlformats.org/officeDocument/2006/relationships/image" Target="../media/image37.emf"/><Relationship Id="rId14" Type="http://schemas.openxmlformats.org/officeDocument/2006/relationships/image" Target="../media/image5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13" Type="http://schemas.openxmlformats.org/officeDocument/2006/relationships/diagramColors" Target="../diagrams/colors4.xml"/><Relationship Id="rId3" Type="http://schemas.openxmlformats.org/officeDocument/2006/relationships/tags" Target="../tags/tag14.xml"/><Relationship Id="rId7" Type="http://schemas.openxmlformats.org/officeDocument/2006/relationships/image" Target="../media/image5.png"/><Relationship Id="rId12" Type="http://schemas.openxmlformats.org/officeDocument/2006/relationships/diagramQuickStyle" Target="../diagrams/quickStyle4.xml"/><Relationship Id="rId2" Type="http://schemas.openxmlformats.org/officeDocument/2006/relationships/vmlDrawing" Target="../drawings/vmlDrawing9.vml"/><Relationship Id="rId1" Type="http://schemas.openxmlformats.org/officeDocument/2006/relationships/themeOverride" Target="../theme/themeOverride19.xml"/><Relationship Id="rId6" Type="http://schemas.openxmlformats.org/officeDocument/2006/relationships/notesSlide" Target="../notesSlides/notesSlide12.xml"/><Relationship Id="rId11" Type="http://schemas.openxmlformats.org/officeDocument/2006/relationships/diagramLayout" Target="../diagrams/layout4.xml"/><Relationship Id="rId5" Type="http://schemas.openxmlformats.org/officeDocument/2006/relationships/slideLayout" Target="../slideLayouts/slideLayout68.xml"/><Relationship Id="rId10" Type="http://schemas.openxmlformats.org/officeDocument/2006/relationships/diagramData" Target="../diagrams/data4.xml"/><Relationship Id="rId4" Type="http://schemas.openxmlformats.org/officeDocument/2006/relationships/tags" Target="../tags/tag15.xml"/><Relationship Id="rId9" Type="http://schemas.openxmlformats.org/officeDocument/2006/relationships/image" Target="../media/image37.emf"/><Relationship Id="rId14" Type="http://schemas.microsoft.com/office/2007/relationships/diagramDrawing" Target="../diagrams/drawing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13" Type="http://schemas.openxmlformats.org/officeDocument/2006/relationships/diagramColors" Target="../diagrams/colors5.xml"/><Relationship Id="rId3" Type="http://schemas.openxmlformats.org/officeDocument/2006/relationships/tags" Target="../tags/tag16.xml"/><Relationship Id="rId7" Type="http://schemas.openxmlformats.org/officeDocument/2006/relationships/image" Target="../media/image5.png"/><Relationship Id="rId12" Type="http://schemas.openxmlformats.org/officeDocument/2006/relationships/diagramQuickStyle" Target="../diagrams/quickStyle5.xml"/><Relationship Id="rId2" Type="http://schemas.openxmlformats.org/officeDocument/2006/relationships/vmlDrawing" Target="../drawings/vmlDrawing10.vml"/><Relationship Id="rId1" Type="http://schemas.openxmlformats.org/officeDocument/2006/relationships/themeOverride" Target="../theme/themeOverride20.xml"/><Relationship Id="rId6" Type="http://schemas.openxmlformats.org/officeDocument/2006/relationships/notesSlide" Target="../notesSlides/notesSlide13.xml"/><Relationship Id="rId11" Type="http://schemas.openxmlformats.org/officeDocument/2006/relationships/diagramLayout" Target="../diagrams/layout5.xml"/><Relationship Id="rId5" Type="http://schemas.openxmlformats.org/officeDocument/2006/relationships/slideLayout" Target="../slideLayouts/slideLayout57.xml"/><Relationship Id="rId10" Type="http://schemas.openxmlformats.org/officeDocument/2006/relationships/diagramData" Target="../diagrams/data5.xml"/><Relationship Id="rId4" Type="http://schemas.openxmlformats.org/officeDocument/2006/relationships/tags" Target="../tags/tag17.xml"/><Relationship Id="rId9" Type="http://schemas.openxmlformats.org/officeDocument/2006/relationships/image" Target="../media/image37.emf"/><Relationship Id="rId14" Type="http://schemas.microsoft.com/office/2007/relationships/diagramDrawing" Target="../diagrams/drawing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13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5.png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50.xml"/><Relationship Id="rId1" Type="http://schemas.openxmlformats.org/officeDocument/2006/relationships/themeOverride" Target="../theme/themeOverride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13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2.xml"/><Relationship Id="rId7" Type="http://schemas.openxmlformats.org/officeDocument/2006/relationships/image" Target="../media/image5.png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4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46.xml"/><Relationship Id="rId10" Type="http://schemas.openxmlformats.org/officeDocument/2006/relationships/image" Target="../media/image7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4.xml"/><Relationship Id="rId7" Type="http://schemas.openxmlformats.org/officeDocument/2006/relationships/oleObject" Target="../embeddings/oleObject2.bin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5.png"/><Relationship Id="rId11" Type="http://schemas.microsoft.com/office/2007/relationships/hdphoto" Target="../media/hdphoto2.wdp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46.xml"/><Relationship Id="rId9" Type="http://schemas.openxmlformats.org/officeDocument/2006/relationships/image" Target="../media/image9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5.xml"/><Relationship Id="rId7" Type="http://schemas.openxmlformats.org/officeDocument/2006/relationships/oleObject" Target="../embeddings/oleObject3.bin"/><Relationship Id="rId2" Type="http://schemas.openxmlformats.org/officeDocument/2006/relationships/vmlDrawing" Target="../drawings/vmlDrawing3.v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5.png"/><Relationship Id="rId11" Type="http://schemas.openxmlformats.org/officeDocument/2006/relationships/image" Target="../media/image11.png"/><Relationship Id="rId5" Type="http://schemas.openxmlformats.org/officeDocument/2006/relationships/notesSlide" Target="../notesSlides/notesSlide5.xml"/><Relationship Id="rId10" Type="http://schemas.microsoft.com/office/2007/relationships/hdphoto" Target="../media/hdphoto2.wdp"/><Relationship Id="rId4" Type="http://schemas.openxmlformats.org/officeDocument/2006/relationships/slideLayout" Target="../slideLayouts/slideLayout46.xml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323850" y="3105834"/>
            <a:ext cx="8496300" cy="646331"/>
          </a:xfrm>
          <a:prstGeom prst="rect">
            <a:avLst/>
          </a:prstGeom>
          <a:noFill/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3600" b="1" spc="-150" dirty="0" smtClean="0">
                <a:solidFill>
                  <a:srgbClr val="002060"/>
                </a:solidFill>
                <a:latin typeface="Berlin Sans FB Demi" pitchFamily="34" charset="0"/>
                <a:cs typeface="+mn-cs"/>
              </a:rPr>
              <a:t>III Cuenta Pública Participativa 2016</a:t>
            </a:r>
            <a:endParaRPr lang="es-ES_tradnl" sz="3600" b="1" spc="-150" dirty="0">
              <a:solidFill>
                <a:srgbClr val="002060"/>
              </a:solidFill>
              <a:latin typeface="Berlin Sans FB Demi" pitchFamily="34" charset="0"/>
              <a:cs typeface="+mn-cs"/>
            </a:endParaRPr>
          </a:p>
        </p:txBody>
      </p:sp>
      <p:sp>
        <p:nvSpPr>
          <p:cNvPr id="181251" name="2 CuadroTexto"/>
          <p:cNvSpPr txBox="1">
            <a:spLocks noChangeArrowheads="1"/>
          </p:cNvSpPr>
          <p:nvPr/>
        </p:nvSpPr>
        <p:spPr bwMode="auto">
          <a:xfrm>
            <a:off x="468313" y="3704909"/>
            <a:ext cx="82804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es-CL" altLang="es-CL" sz="2400" dirty="0">
                <a:solidFill>
                  <a:srgbClr val="0070C0"/>
                </a:solidFill>
                <a:latin typeface="Berlin Sans FB Demi" pitchFamily="34" charset="0"/>
              </a:rPr>
              <a:t>Consejo para la </a:t>
            </a:r>
            <a:r>
              <a:rPr lang="es-CL" altLang="es-CL" sz="2400" dirty="0" smtClean="0">
                <a:solidFill>
                  <a:srgbClr val="0070C0"/>
                </a:solidFill>
                <a:latin typeface="Berlin Sans FB Demi" pitchFamily="34" charset="0"/>
              </a:rPr>
              <a:t>Transparencia (CPLT)</a:t>
            </a:r>
            <a:endParaRPr lang="es-CL" altLang="es-CL" sz="2400" dirty="0">
              <a:solidFill>
                <a:srgbClr val="0070C0"/>
              </a:solidFill>
              <a:latin typeface="Berlin Sans FB Demi" pitchFamily="34" charset="0"/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4579590" y="4545082"/>
            <a:ext cx="469002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es-CL" sz="2000" i="1" dirty="0" smtClean="0">
              <a:solidFill>
                <a:srgbClr val="120072"/>
              </a:solidFill>
              <a:latin typeface="Agency FB" pitchFamily="34" charset="0"/>
              <a:cs typeface="Segoe UI" pitchFamily="34" charset="0"/>
            </a:endParaRPr>
          </a:p>
          <a:p>
            <a:pPr algn="r" eaLnBrk="1" hangingPunct="1"/>
            <a:endParaRPr lang="es-CL" dirty="0">
              <a:solidFill>
                <a:schemeClr val="bg1">
                  <a:lumMod val="50000"/>
                </a:schemeClr>
              </a:solidFill>
              <a:latin typeface="Agency FB" pitchFamily="34" charset="0"/>
            </a:endParaRPr>
          </a:p>
        </p:txBody>
      </p:sp>
      <p:sp>
        <p:nvSpPr>
          <p:cNvPr id="5" name="2 Subtítulo"/>
          <p:cNvSpPr txBox="1">
            <a:spLocks/>
          </p:cNvSpPr>
          <p:nvPr/>
        </p:nvSpPr>
        <p:spPr>
          <a:xfrm>
            <a:off x="2419350" y="3944610"/>
            <a:ext cx="6400800" cy="1752600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endParaRPr lang="es-ES" sz="300" dirty="0" smtClean="0">
              <a:latin typeface="Century Gothic" panose="020B0502020202020204" pitchFamily="34" charset="0"/>
            </a:endParaRPr>
          </a:p>
          <a:p>
            <a:pPr marL="0" indent="0" algn="r">
              <a:buNone/>
            </a:pPr>
            <a:endParaRPr lang="es-ES" sz="300" dirty="0" smtClean="0">
              <a:latin typeface="Century Gothic" panose="020B0502020202020204" pitchFamily="34" charset="0"/>
            </a:endParaRPr>
          </a:p>
          <a:p>
            <a:pPr marL="0" indent="0" algn="r">
              <a:buNone/>
            </a:pPr>
            <a:endParaRPr lang="es-ES" sz="300" dirty="0" smtClean="0">
              <a:latin typeface="Century Gothic" panose="020B0502020202020204" pitchFamily="34" charset="0"/>
            </a:endParaRPr>
          </a:p>
          <a:p>
            <a:pPr marL="0" indent="0" algn="r">
              <a:buNone/>
            </a:pPr>
            <a:endParaRPr lang="es-ES" sz="300" dirty="0" smtClean="0">
              <a:latin typeface="Century Gothic" panose="020B0502020202020204" pitchFamily="34" charset="0"/>
            </a:endParaRPr>
          </a:p>
          <a:p>
            <a:pPr marL="0" indent="0" algn="r">
              <a:buNone/>
            </a:pPr>
            <a:endParaRPr lang="es-ES" sz="300" dirty="0" smtClean="0">
              <a:latin typeface="Century Gothic" panose="020B0502020202020204" pitchFamily="34" charset="0"/>
            </a:endParaRPr>
          </a:p>
          <a:p>
            <a:pPr marL="0" indent="0" algn="r">
              <a:buNone/>
            </a:pPr>
            <a:r>
              <a:rPr lang="es-ES" sz="1600" dirty="0" smtClean="0">
                <a:latin typeface="Century Gothic" panose="020B0502020202020204" pitchFamily="34" charset="0"/>
              </a:rPr>
              <a:t>José Luis Santamaría</a:t>
            </a:r>
          </a:p>
          <a:p>
            <a:pPr marL="0" indent="0" algn="r">
              <a:buNone/>
            </a:pPr>
            <a:r>
              <a:rPr lang="es-ES" sz="1600" dirty="0" smtClean="0">
                <a:latin typeface="Century Gothic" panose="020B0502020202020204" pitchFamily="34" charset="0"/>
              </a:rPr>
              <a:t>Presidente</a:t>
            </a:r>
          </a:p>
          <a:p>
            <a:pPr marL="0" indent="0" algn="r">
              <a:buNone/>
            </a:pPr>
            <a:r>
              <a:rPr lang="es-ES" sz="1600" dirty="0" smtClean="0">
                <a:latin typeface="Century Gothic" panose="020B0502020202020204" pitchFamily="34" charset="0"/>
              </a:rPr>
              <a:t>Consejo para la Transparencia</a:t>
            </a:r>
            <a:endParaRPr lang="es-CL" sz="1600" dirty="0">
              <a:latin typeface="Century Gothic" panose="020B0502020202020204" pitchFamily="34" charset="0"/>
            </a:endParaRPr>
          </a:p>
        </p:txBody>
      </p:sp>
      <p:cxnSp>
        <p:nvCxnSpPr>
          <p:cNvPr id="7" name="6 Conector recto"/>
          <p:cNvCxnSpPr/>
          <p:nvPr/>
        </p:nvCxnSpPr>
        <p:spPr>
          <a:xfrm flipH="1">
            <a:off x="2563366" y="4185042"/>
            <a:ext cx="62646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7 CuadroTexto"/>
          <p:cNvSpPr txBox="1"/>
          <p:nvPr/>
        </p:nvSpPr>
        <p:spPr>
          <a:xfrm>
            <a:off x="5619750" y="5564227"/>
            <a:ext cx="32803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200" dirty="0" smtClean="0">
                <a:latin typeface="Century Gothic" panose="020B0502020202020204" pitchFamily="34" charset="0"/>
              </a:rPr>
              <a:t>Santiago, Septiembre 2016</a:t>
            </a:r>
            <a:endParaRPr lang="es-CL" sz="1200" dirty="0">
              <a:latin typeface="Century Gothic" panose="020B0502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610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1 Título"/>
          <p:cNvSpPr>
            <a:spLocks noGrp="1"/>
          </p:cNvSpPr>
          <p:nvPr>
            <p:ph type="title"/>
          </p:nvPr>
        </p:nvSpPr>
        <p:spPr>
          <a:xfrm>
            <a:off x="174372" y="30025"/>
            <a:ext cx="6491064" cy="1143000"/>
          </a:xfrm>
        </p:spPr>
        <p:txBody>
          <a:bodyPr>
            <a:noAutofit/>
          </a:bodyPr>
          <a:lstStyle/>
          <a:p>
            <a:pPr algn="l"/>
            <a:r>
              <a:rPr lang="es-CL" sz="3600" dirty="0" smtClean="0">
                <a:solidFill>
                  <a:srgbClr val="0070C0"/>
                </a:solidFill>
                <a:latin typeface="Berlin Sans FB Demi" pitchFamily="34" charset="0"/>
              </a:rPr>
              <a:t>Mayor uso del Portal del Transparencia</a:t>
            </a:r>
            <a:endParaRPr lang="es-CL" sz="3600" dirty="0">
              <a:solidFill>
                <a:srgbClr val="0070C0"/>
              </a:solidFill>
              <a:latin typeface="Berlin Sans FB Demi" pitchFamily="34" charset="0"/>
            </a:endParaRPr>
          </a:p>
        </p:txBody>
      </p:sp>
      <p:sp>
        <p:nvSpPr>
          <p:cNvPr id="10" name="9 Rectángulo"/>
          <p:cNvSpPr/>
          <p:nvPr/>
        </p:nvSpPr>
        <p:spPr>
          <a:xfrm>
            <a:off x="822546" y="1515050"/>
            <a:ext cx="749890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b="1" dirty="0" smtClean="0">
                <a:latin typeface="Microsoft PhagsPa" pitchFamily="34" charset="0"/>
              </a:rPr>
              <a:t>Organismos (Sujetos Obligados) </a:t>
            </a:r>
          </a:p>
          <a:p>
            <a:pPr algn="ctr"/>
            <a:r>
              <a:rPr lang="es-CL" b="1" dirty="0" smtClean="0">
                <a:latin typeface="Microsoft PhagsPa" pitchFamily="34" charset="0"/>
              </a:rPr>
              <a:t>incorporados al Portal de Transparencia</a:t>
            </a:r>
            <a:endParaRPr lang="es-CL" dirty="0"/>
          </a:p>
        </p:txBody>
      </p:sp>
      <p:grpSp>
        <p:nvGrpSpPr>
          <p:cNvPr id="31" name="30 Grupo"/>
          <p:cNvGrpSpPr/>
          <p:nvPr/>
        </p:nvGrpSpPr>
        <p:grpSpPr>
          <a:xfrm>
            <a:off x="870511" y="2327449"/>
            <a:ext cx="2376118" cy="3897119"/>
            <a:chOff x="870511" y="2327449"/>
            <a:chExt cx="2376118" cy="3897119"/>
          </a:xfrm>
        </p:grpSpPr>
        <p:grpSp>
          <p:nvGrpSpPr>
            <p:cNvPr id="19" name="18 Grupo"/>
            <p:cNvGrpSpPr/>
            <p:nvPr/>
          </p:nvGrpSpPr>
          <p:grpSpPr>
            <a:xfrm>
              <a:off x="975243" y="3429000"/>
              <a:ext cx="1963570" cy="1944216"/>
              <a:chOff x="975243" y="3429000"/>
              <a:chExt cx="1963570" cy="1944216"/>
            </a:xfrm>
          </p:grpSpPr>
          <p:pic>
            <p:nvPicPr>
              <p:cNvPr id="2" name="1 Imagen"/>
              <p:cNvPicPr>
                <a:picLocks noChangeAspect="1"/>
              </p:cNvPicPr>
              <p:nvPr/>
            </p:nvPicPr>
            <p:blipFill rotWithShape="1">
              <a:blip r:embed="rId9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1005" t="5903" r="6611" b="26016"/>
              <a:stretch/>
            </p:blipFill>
            <p:spPr>
              <a:xfrm>
                <a:off x="1574884" y="4786447"/>
                <a:ext cx="787114" cy="586769"/>
              </a:xfrm>
              <a:prstGeom prst="rect">
                <a:avLst/>
              </a:prstGeom>
            </p:spPr>
          </p:pic>
          <p:grpSp>
            <p:nvGrpSpPr>
              <p:cNvPr id="9" name="8 Grupo"/>
              <p:cNvGrpSpPr/>
              <p:nvPr/>
            </p:nvGrpSpPr>
            <p:grpSpPr>
              <a:xfrm>
                <a:off x="975243" y="3429000"/>
                <a:ext cx="1963570" cy="1436506"/>
                <a:chOff x="752902" y="3313771"/>
                <a:chExt cx="2110523" cy="1453458"/>
              </a:xfrm>
            </p:grpSpPr>
            <p:pic>
              <p:nvPicPr>
                <p:cNvPr id="11" name="Picture 2" descr="http://www.jse.org/ficheros/Logos/institution_icon.png"/>
                <p:cNvPicPr>
                  <a:picLocks noChangeAspect="1" noChangeArrowheads="1"/>
                </p:cNvPicPr>
                <p:nvPr/>
              </p:nvPicPr>
              <p:blipFill>
                <a:blip r:embed="rId10" cstate="print"/>
                <a:srcRect/>
                <a:stretch>
                  <a:fillRect/>
                </a:stretch>
              </p:blipFill>
              <p:spPr bwMode="auto">
                <a:xfrm>
                  <a:off x="2149999" y="3973811"/>
                  <a:ext cx="713426" cy="713427"/>
                </a:xfrm>
                <a:prstGeom prst="rect">
                  <a:avLst/>
                </a:prstGeom>
                <a:noFill/>
              </p:spPr>
            </p:pic>
            <p:pic>
              <p:nvPicPr>
                <p:cNvPr id="12" name="Picture 4" descr="https://cdn2.iconfinder.com/data/icons/maki/100/commerical-building-512.png"/>
                <p:cNvPicPr>
                  <a:picLocks noChangeAspect="1" noChangeArrowheads="1"/>
                </p:cNvPicPr>
                <p:nvPr/>
              </p:nvPicPr>
              <p:blipFill>
                <a:blip r:embed="rId11" cstate="print">
                  <a:duotone>
                    <a:schemeClr val="bg2">
                      <a:shade val="45000"/>
                      <a:satMod val="135000"/>
                    </a:schemeClr>
                    <a:prstClr val="white"/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2">
                          <a14:imgEffect>
                            <a14:artisticPencilSketch/>
                          </a14:imgEffect>
                        </a14:imgLayer>
                      </a14:imgProps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52902" y="3863555"/>
                  <a:ext cx="903673" cy="903674"/>
                </a:xfrm>
                <a:prstGeom prst="rect">
                  <a:avLst/>
                </a:prstGeom>
                <a:noFill/>
              </p:spPr>
            </p:pic>
            <p:pic>
              <p:nvPicPr>
                <p:cNvPr id="15" name="Picture 10" descr="https://cdn2.iconfinder.com/data/icons/the-politics/350/Government-512.png"/>
                <p:cNvPicPr>
                  <a:picLocks noChangeAspect="1" noChangeArrowheads="1"/>
                </p:cNvPicPr>
                <p:nvPr/>
              </p:nvPicPr>
              <p:blipFill>
                <a:blip r:embed="rId13" cstate="print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</a:blip>
                <a:srcRect/>
                <a:stretch>
                  <a:fillRect/>
                </a:stretch>
              </p:blipFill>
              <p:spPr bwMode="auto">
                <a:xfrm>
                  <a:off x="1397419" y="3313771"/>
                  <a:ext cx="951237" cy="951236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16" name="15 Rectángulo"/>
            <p:cNvSpPr/>
            <p:nvPr/>
          </p:nvSpPr>
          <p:spPr>
            <a:xfrm>
              <a:off x="1507155" y="5578237"/>
              <a:ext cx="120514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CL" b="1" dirty="0" smtClean="0">
                  <a:latin typeface="Microsoft PhagsPa" pitchFamily="34" charset="0"/>
                </a:rPr>
                <a:t>Agosto 2015</a:t>
              </a:r>
              <a:endParaRPr lang="es-CL" dirty="0"/>
            </a:p>
          </p:txBody>
        </p:sp>
        <p:sp>
          <p:nvSpPr>
            <p:cNvPr id="18" name="17 Rectángulo"/>
            <p:cNvSpPr/>
            <p:nvPr/>
          </p:nvSpPr>
          <p:spPr>
            <a:xfrm>
              <a:off x="870511" y="2327449"/>
              <a:ext cx="2376118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CL" sz="4400" b="1" dirty="0" smtClean="0">
                  <a:solidFill>
                    <a:schemeClr val="accent6">
                      <a:lumMod val="50000"/>
                    </a:schemeClr>
                  </a:solidFill>
                  <a:latin typeface="Berlin Sans FB Demi" pitchFamily="34" charset="0"/>
                </a:rPr>
                <a:t>337 </a:t>
              </a:r>
              <a:r>
                <a:rPr lang="es-CL" sz="2000" b="1" dirty="0" smtClean="0">
                  <a:solidFill>
                    <a:schemeClr val="accent6">
                      <a:lumMod val="50000"/>
                    </a:schemeClr>
                  </a:solidFill>
                  <a:latin typeface="Berlin Sans FB Demi" pitchFamily="34" charset="0"/>
                </a:rPr>
                <a:t>organismos</a:t>
              </a:r>
              <a:endParaRPr lang="es-CL" sz="2000" dirty="0">
                <a:solidFill>
                  <a:schemeClr val="accent6">
                    <a:lumMod val="50000"/>
                  </a:schemeClr>
                </a:solidFill>
                <a:latin typeface="Berlin Sans FB Demi" pitchFamily="34" charset="0"/>
              </a:endParaRPr>
            </a:p>
          </p:txBody>
        </p:sp>
      </p:grpSp>
      <p:pic>
        <p:nvPicPr>
          <p:cNvPr id="29" name="28 Imagen"/>
          <p:cNvPicPr>
            <a:picLocks noChangeAspect="1"/>
          </p:cNvPicPr>
          <p:nvPr/>
        </p:nvPicPr>
        <p:blipFill>
          <a:blip r:embed="rId1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9782" y="3390788"/>
            <a:ext cx="1142035" cy="783832"/>
          </a:xfrm>
          <a:prstGeom prst="rect">
            <a:avLst/>
          </a:prstGeom>
        </p:spPr>
      </p:pic>
      <p:grpSp>
        <p:nvGrpSpPr>
          <p:cNvPr id="34" name="33 Grupo"/>
          <p:cNvGrpSpPr/>
          <p:nvPr/>
        </p:nvGrpSpPr>
        <p:grpSpPr>
          <a:xfrm>
            <a:off x="5096638" y="2379474"/>
            <a:ext cx="3515106" cy="4168259"/>
            <a:chOff x="5096638" y="2379474"/>
            <a:chExt cx="3515106" cy="4168259"/>
          </a:xfrm>
        </p:grpSpPr>
        <p:sp>
          <p:nvSpPr>
            <p:cNvPr id="17" name="16 Rectángulo"/>
            <p:cNvSpPr/>
            <p:nvPr/>
          </p:nvSpPr>
          <p:spPr>
            <a:xfrm>
              <a:off x="6527212" y="5901402"/>
              <a:ext cx="120514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CL" b="1" dirty="0" smtClean="0">
                  <a:latin typeface="Microsoft PhagsPa" pitchFamily="34" charset="0"/>
                </a:rPr>
                <a:t>Agosto  2016</a:t>
              </a:r>
              <a:endParaRPr lang="es-CL" dirty="0"/>
            </a:p>
          </p:txBody>
        </p:sp>
        <p:grpSp>
          <p:nvGrpSpPr>
            <p:cNvPr id="21" name="20 Grupo"/>
            <p:cNvGrpSpPr/>
            <p:nvPr/>
          </p:nvGrpSpPr>
          <p:grpSpPr>
            <a:xfrm>
              <a:off x="5795181" y="3704549"/>
              <a:ext cx="1963570" cy="1944216"/>
              <a:chOff x="975243" y="3429000"/>
              <a:chExt cx="1963570" cy="1944216"/>
            </a:xfrm>
          </p:grpSpPr>
          <p:pic>
            <p:nvPicPr>
              <p:cNvPr id="22" name="21 Imagen"/>
              <p:cNvPicPr>
                <a:picLocks noChangeAspect="1"/>
              </p:cNvPicPr>
              <p:nvPr/>
            </p:nvPicPr>
            <p:blipFill rotWithShape="1">
              <a:blip r:embed="rId9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1005" t="5903" r="6611" b="26016"/>
              <a:stretch/>
            </p:blipFill>
            <p:spPr>
              <a:xfrm>
                <a:off x="1574884" y="4786447"/>
                <a:ext cx="787114" cy="586769"/>
              </a:xfrm>
              <a:prstGeom prst="rect">
                <a:avLst/>
              </a:prstGeom>
            </p:spPr>
          </p:pic>
          <p:grpSp>
            <p:nvGrpSpPr>
              <p:cNvPr id="23" name="22 Grupo"/>
              <p:cNvGrpSpPr/>
              <p:nvPr/>
            </p:nvGrpSpPr>
            <p:grpSpPr>
              <a:xfrm>
                <a:off x="975243" y="3429000"/>
                <a:ext cx="1963570" cy="1436506"/>
                <a:chOff x="752902" y="3313771"/>
                <a:chExt cx="2110523" cy="1453458"/>
              </a:xfrm>
            </p:grpSpPr>
            <p:pic>
              <p:nvPicPr>
                <p:cNvPr id="24" name="Picture 2" descr="http://www.jse.org/ficheros/Logos/institution_icon.png"/>
                <p:cNvPicPr>
                  <a:picLocks noChangeAspect="1" noChangeArrowheads="1"/>
                </p:cNvPicPr>
                <p:nvPr/>
              </p:nvPicPr>
              <p:blipFill>
                <a:blip r:embed="rId10" cstate="print"/>
                <a:srcRect/>
                <a:stretch>
                  <a:fillRect/>
                </a:stretch>
              </p:blipFill>
              <p:spPr bwMode="auto">
                <a:xfrm>
                  <a:off x="2149999" y="3973811"/>
                  <a:ext cx="713426" cy="713427"/>
                </a:xfrm>
                <a:prstGeom prst="rect">
                  <a:avLst/>
                </a:prstGeom>
                <a:noFill/>
              </p:spPr>
            </p:pic>
            <p:pic>
              <p:nvPicPr>
                <p:cNvPr id="25" name="Picture 4" descr="https://cdn2.iconfinder.com/data/icons/maki/100/commerical-building-512.png"/>
                <p:cNvPicPr>
                  <a:picLocks noChangeAspect="1" noChangeArrowheads="1"/>
                </p:cNvPicPr>
                <p:nvPr/>
              </p:nvPicPr>
              <p:blipFill>
                <a:blip r:embed="rId11" cstate="print">
                  <a:duotone>
                    <a:schemeClr val="bg2">
                      <a:shade val="45000"/>
                      <a:satMod val="135000"/>
                    </a:schemeClr>
                    <a:prstClr val="white"/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2">
                          <a14:imgEffect>
                            <a14:artisticPencilSketch/>
                          </a14:imgEffect>
                        </a14:imgLayer>
                      </a14:imgProps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52902" y="3863555"/>
                  <a:ext cx="903673" cy="903674"/>
                </a:xfrm>
                <a:prstGeom prst="rect">
                  <a:avLst/>
                </a:prstGeom>
                <a:noFill/>
              </p:spPr>
            </p:pic>
            <p:pic>
              <p:nvPicPr>
                <p:cNvPr id="26" name="Picture 10" descr="https://cdn2.iconfinder.com/data/icons/the-politics/350/Government-512.png"/>
                <p:cNvPicPr>
                  <a:picLocks noChangeAspect="1" noChangeArrowheads="1"/>
                </p:cNvPicPr>
                <p:nvPr/>
              </p:nvPicPr>
              <p:blipFill>
                <a:blip r:embed="rId13" cstate="print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</a:blip>
                <a:srcRect/>
                <a:stretch>
                  <a:fillRect/>
                </a:stretch>
              </p:blipFill>
              <p:spPr bwMode="auto">
                <a:xfrm>
                  <a:off x="1397419" y="3313771"/>
                  <a:ext cx="951237" cy="951236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27" name="26 Rectángulo"/>
            <p:cNvSpPr/>
            <p:nvPr/>
          </p:nvSpPr>
          <p:spPr>
            <a:xfrm>
              <a:off x="5678814" y="2379474"/>
              <a:ext cx="2376118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CL" sz="4400" b="1" dirty="0" smtClean="0">
                  <a:solidFill>
                    <a:schemeClr val="accent6">
                      <a:lumMod val="50000"/>
                    </a:schemeClr>
                  </a:solidFill>
                  <a:latin typeface="Berlin Sans FB Demi" pitchFamily="34" charset="0"/>
                </a:rPr>
                <a:t>667 </a:t>
              </a:r>
              <a:r>
                <a:rPr lang="es-CL" sz="2000" b="1" dirty="0" smtClean="0">
                  <a:solidFill>
                    <a:schemeClr val="accent6">
                      <a:lumMod val="50000"/>
                    </a:schemeClr>
                  </a:solidFill>
                  <a:latin typeface="Berlin Sans FB Demi" pitchFamily="34" charset="0"/>
                </a:rPr>
                <a:t>organismos</a:t>
              </a:r>
              <a:endParaRPr lang="es-CL" sz="2000" dirty="0">
                <a:solidFill>
                  <a:schemeClr val="accent6">
                    <a:lumMod val="50000"/>
                  </a:schemeClr>
                </a:solidFill>
                <a:latin typeface="Berlin Sans FB Demi" pitchFamily="34" charset="0"/>
              </a:endParaRPr>
            </a:p>
          </p:txBody>
        </p:sp>
        <p:pic>
          <p:nvPicPr>
            <p:cNvPr id="20" name="19 Imagen"/>
            <p:cNvPicPr>
              <a:picLocks noChangeAspect="1"/>
            </p:cNvPicPr>
            <p:nvPr/>
          </p:nvPicPr>
          <p:blipFill>
            <a:blip r:embed="rId15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60978" y="5025980"/>
              <a:ext cx="1015317" cy="1015317"/>
            </a:xfrm>
            <a:prstGeom prst="rect">
              <a:avLst/>
            </a:prstGeom>
          </p:spPr>
        </p:pic>
        <p:pic>
          <p:nvPicPr>
            <p:cNvPr id="28" name="27 Imagen"/>
            <p:cNvPicPr>
              <a:picLocks noChangeAspect="1"/>
            </p:cNvPicPr>
            <p:nvPr/>
          </p:nvPicPr>
          <p:blipFill>
            <a:blip r:embed="rId16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75199" y="5061997"/>
              <a:ext cx="608553" cy="717329"/>
            </a:xfrm>
            <a:prstGeom prst="rect">
              <a:avLst/>
            </a:prstGeom>
          </p:spPr>
        </p:pic>
        <p:pic>
          <p:nvPicPr>
            <p:cNvPr id="30" name="29 Imagen"/>
            <p:cNvPicPr>
              <a:picLocks noChangeAspect="1"/>
            </p:cNvPicPr>
            <p:nvPr/>
          </p:nvPicPr>
          <p:blipFill>
            <a:blip r:embed="rId17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22012" y="3633191"/>
              <a:ext cx="613920" cy="619975"/>
            </a:xfrm>
            <a:prstGeom prst="rect">
              <a:avLst/>
            </a:prstGeom>
          </p:spPr>
        </p:pic>
        <p:pic>
          <p:nvPicPr>
            <p:cNvPr id="32" name="31 Imagen"/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005" t="5903" r="6611" b="26016"/>
            <a:stretch/>
          </p:blipFill>
          <p:spPr>
            <a:xfrm>
              <a:off x="7824630" y="4396839"/>
              <a:ext cx="787114" cy="586769"/>
            </a:xfrm>
            <a:prstGeom prst="rect">
              <a:avLst/>
            </a:prstGeom>
          </p:spPr>
        </p:pic>
        <p:pic>
          <p:nvPicPr>
            <p:cNvPr id="33" name="32 Imagen"/>
            <p:cNvPicPr>
              <a:picLocks noChangeAspect="1"/>
            </p:cNvPicPr>
            <p:nvPr/>
          </p:nvPicPr>
          <p:blipFill rotWithShape="1">
            <a:blip r:embed="rId9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005" t="5903" r="6611" b="26016"/>
            <a:stretch/>
          </p:blipFill>
          <p:spPr>
            <a:xfrm>
              <a:off x="5096638" y="4107719"/>
              <a:ext cx="787114" cy="586769"/>
            </a:xfrm>
            <a:prstGeom prst="rect">
              <a:avLst/>
            </a:prstGeom>
          </p:spPr>
        </p:pic>
      </p:grpSp>
      <p:sp>
        <p:nvSpPr>
          <p:cNvPr id="36" name="35 Rectángulo"/>
          <p:cNvSpPr/>
          <p:nvPr/>
        </p:nvSpPr>
        <p:spPr>
          <a:xfrm>
            <a:off x="7095000" y="3390788"/>
            <a:ext cx="1226453" cy="8571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390740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2000" fill="hold"/>
                                        <p:tgtEl>
                                          <p:spTgt spid="2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/>
        </p:nvSpPr>
        <p:spPr>
          <a:xfrm>
            <a:off x="0" y="3428206"/>
            <a:ext cx="9144000" cy="36011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aphicFrame>
        <p:nvGraphicFramePr>
          <p:cNvPr id="7" name="6 Objeto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3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1 Título"/>
          <p:cNvSpPr>
            <a:spLocks noGrp="1"/>
          </p:cNvSpPr>
          <p:nvPr>
            <p:ph type="title"/>
          </p:nvPr>
        </p:nvSpPr>
        <p:spPr>
          <a:xfrm>
            <a:off x="174372" y="30025"/>
            <a:ext cx="6491064" cy="1143000"/>
          </a:xfrm>
        </p:spPr>
        <p:txBody>
          <a:bodyPr>
            <a:noAutofit/>
          </a:bodyPr>
          <a:lstStyle/>
          <a:p>
            <a:pPr algn="l"/>
            <a:r>
              <a:rPr lang="es-CL" sz="3600" dirty="0" smtClean="0">
                <a:solidFill>
                  <a:srgbClr val="0070C0"/>
                </a:solidFill>
                <a:latin typeface="Berlin Sans FB Demi" pitchFamily="34" charset="0"/>
              </a:rPr>
              <a:t>Mayor uso del Portal del Transparencia</a:t>
            </a:r>
            <a:endParaRPr lang="es-CL" sz="3600" dirty="0">
              <a:solidFill>
                <a:srgbClr val="0070C0"/>
              </a:solidFill>
              <a:latin typeface="Berlin Sans FB Demi" pitchFamily="34" charset="0"/>
            </a:endParaRPr>
          </a:p>
        </p:txBody>
      </p:sp>
      <p:sp>
        <p:nvSpPr>
          <p:cNvPr id="10" name="9 Rectángulo"/>
          <p:cNvSpPr/>
          <p:nvPr/>
        </p:nvSpPr>
        <p:spPr>
          <a:xfrm>
            <a:off x="-540568" y="1330384"/>
            <a:ext cx="749890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b="1" dirty="0" smtClean="0">
                <a:latin typeface="Microsoft PhagsPa" pitchFamily="34" charset="0"/>
              </a:rPr>
              <a:t>Visitas al Portal de Transparencia</a:t>
            </a:r>
            <a:endParaRPr lang="es-CL" dirty="0"/>
          </a:p>
        </p:txBody>
      </p:sp>
      <p:grpSp>
        <p:nvGrpSpPr>
          <p:cNvPr id="31" name="30 Grupo"/>
          <p:cNvGrpSpPr/>
          <p:nvPr/>
        </p:nvGrpSpPr>
        <p:grpSpPr>
          <a:xfrm>
            <a:off x="6403597" y="5165229"/>
            <a:ext cx="2292615" cy="1698661"/>
            <a:chOff x="1331640" y="4422511"/>
            <a:chExt cx="2292615" cy="1698661"/>
          </a:xfrm>
        </p:grpSpPr>
        <p:sp>
          <p:nvSpPr>
            <p:cNvPr id="34" name="33 Rectángulo"/>
            <p:cNvSpPr/>
            <p:nvPr/>
          </p:nvSpPr>
          <p:spPr>
            <a:xfrm>
              <a:off x="1331640" y="5013176"/>
              <a:ext cx="2292615" cy="11079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CL" sz="6600" b="1" spc="-150" dirty="0" smtClean="0">
                  <a:solidFill>
                    <a:schemeClr val="accent6">
                      <a:lumMod val="50000"/>
                    </a:schemeClr>
                  </a:solidFill>
                  <a:latin typeface="Berlin Sans FB Demi" pitchFamily="34" charset="0"/>
                  <a:cs typeface="Segoe UI" pitchFamily="34" charset="0"/>
                </a:rPr>
                <a:t>200%</a:t>
              </a:r>
              <a:endParaRPr lang="es-CL" sz="66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pic>
          <p:nvPicPr>
            <p:cNvPr id="35" name="Picture 8" descr="Resultado de imagen para flecha crecimiento jp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2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>
              <a:off x="1872601" y="4473116"/>
              <a:ext cx="893297" cy="7920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91564" name="Picture 4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2088" y="1928813"/>
            <a:ext cx="6218237" cy="299878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chemeClr val="accent6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/>
        </p:spPr>
      </p:pic>
      <p:sp>
        <p:nvSpPr>
          <p:cNvPr id="38" name="37 CuadroTexto"/>
          <p:cNvSpPr txBox="1"/>
          <p:nvPr/>
        </p:nvSpPr>
        <p:spPr>
          <a:xfrm>
            <a:off x="611560" y="5165229"/>
            <a:ext cx="504056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4800" b="1" spc="-150" dirty="0" smtClean="0">
                <a:solidFill>
                  <a:srgbClr val="0070C0"/>
                </a:solidFill>
                <a:latin typeface="Berlin Sans FB Demi" pitchFamily="34" charset="0"/>
                <a:cs typeface="Segoe UI" pitchFamily="34" charset="0"/>
              </a:rPr>
              <a:t>151.005 </a:t>
            </a:r>
            <a:r>
              <a:rPr lang="es-CL" sz="2800" dirty="0" smtClean="0">
                <a:latin typeface="Berlin Sans FB" pitchFamily="34" charset="0"/>
              </a:rPr>
              <a:t>visitas en promedio del año 2016 vs. 52.209 visitas en promedio del periodo 2015.</a:t>
            </a:r>
            <a:endParaRPr lang="es-CL" sz="2800" dirty="0">
              <a:latin typeface="Berlin Sans FB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77962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90307" y="5301208"/>
            <a:ext cx="8724900" cy="4022725"/>
          </a:xfrm>
        </p:spPr>
        <p:txBody>
          <a:bodyPr/>
          <a:lstStyle/>
          <a:p>
            <a:pPr marL="0" indent="0" algn="ctr">
              <a:buFont typeface="Arial" pitchFamily="34" charset="0"/>
              <a:buNone/>
              <a:defRPr/>
            </a:pPr>
            <a:r>
              <a:rPr lang="es-ES" sz="1800" dirty="0" smtClean="0">
                <a:latin typeface="Century Gothic" pitchFamily="34" charset="0"/>
                <a:ea typeface="Malgun Gothic" charset="-127"/>
                <a:cs typeface="Malgun Gothic" charset="-127"/>
              </a:rPr>
              <a:t>"Candidato Transparente" es una iniciativa del Consejo para la Transparencia para </a:t>
            </a:r>
            <a:r>
              <a:rPr lang="es-ES" sz="1800" b="1" dirty="0" smtClean="0">
                <a:latin typeface="Century Gothic" pitchFamily="34" charset="0"/>
                <a:ea typeface="Malgun Gothic" charset="-127"/>
                <a:cs typeface="Malgun Gothic" charset="-127"/>
              </a:rPr>
              <a:t>contribuir a la </a:t>
            </a:r>
            <a:r>
              <a:rPr lang="es-ES" sz="1800" dirty="0" smtClean="0">
                <a:latin typeface="Century Gothic" pitchFamily="34" charset="0"/>
                <a:ea typeface="Malgun Gothic" charset="-127"/>
                <a:cs typeface="Malgun Gothic" charset="-127"/>
              </a:rPr>
              <a:t>recuperación</a:t>
            </a:r>
            <a:r>
              <a:rPr lang="es-ES" sz="1800" b="1" dirty="0" smtClean="0">
                <a:latin typeface="Century Gothic" pitchFamily="34" charset="0"/>
                <a:ea typeface="Malgun Gothic" charset="-127"/>
                <a:cs typeface="Malgun Gothic" charset="-127"/>
              </a:rPr>
              <a:t> de la confianza institucional y al fortalecimiento de la relación entre el Estado y las personas.</a:t>
            </a:r>
            <a:endParaRPr lang="es-ES_tradnl" sz="1800" b="1" dirty="0" smtClean="0">
              <a:latin typeface="Century Gothic" pitchFamily="34" charset="0"/>
              <a:ea typeface="Malgun Gothic" charset="-127"/>
              <a:cs typeface="Malgun Gothic" charset="-127"/>
            </a:endParaRPr>
          </a:p>
          <a:p>
            <a:pPr algn="ctr">
              <a:buFont typeface="Arial" pitchFamily="34" charset="0"/>
              <a:buChar char="•"/>
              <a:defRPr/>
            </a:pPr>
            <a:endParaRPr lang="es-CL" sz="2000" dirty="0">
              <a:latin typeface="Century Gothic" pitchFamily="34" charset="0"/>
            </a:endParaRPr>
          </a:p>
        </p:txBody>
      </p:sp>
      <p:pic>
        <p:nvPicPr>
          <p:cNvPr id="214019" name="Imagen 5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773" y="0"/>
            <a:ext cx="3483131" cy="12775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4020" name="CuadroTexto 47"/>
          <p:cNvSpPr txBox="1">
            <a:spLocks noChangeArrowheads="1"/>
          </p:cNvSpPr>
          <p:nvPr/>
        </p:nvSpPr>
        <p:spPr bwMode="auto">
          <a:xfrm>
            <a:off x="1329533" y="4339938"/>
            <a:ext cx="6654800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es-ES" altLang="es-CL" sz="2500" b="1" dirty="0">
                <a:solidFill>
                  <a:srgbClr val="009DD6"/>
                </a:solidFill>
                <a:latin typeface="Segoe Script" pitchFamily="34" charset="0"/>
              </a:rPr>
              <a:t>Porque cuando estamos informados, podemos tomar mejores decisiones</a:t>
            </a:r>
            <a:r>
              <a:rPr lang="es-ES" altLang="es-CL" sz="2500" b="1" dirty="0" smtClean="0">
                <a:solidFill>
                  <a:srgbClr val="009DD6"/>
                </a:solidFill>
                <a:latin typeface="Segoe Script" pitchFamily="34" charset="0"/>
              </a:rPr>
              <a:t>.</a:t>
            </a:r>
            <a:endParaRPr lang="es-ES_tradnl" altLang="es-CL" sz="2500" b="1" dirty="0">
              <a:solidFill>
                <a:srgbClr val="009DD6"/>
              </a:solidFill>
              <a:latin typeface="Segoe Script" pitchFamily="34" charset="0"/>
            </a:endParaRPr>
          </a:p>
        </p:txBody>
      </p:sp>
      <p:sp>
        <p:nvSpPr>
          <p:cNvPr id="2" name="1 Rectángulo">
            <a:hlinkClick r:id="rId5"/>
          </p:cNvPr>
          <p:cNvSpPr/>
          <p:nvPr/>
        </p:nvSpPr>
        <p:spPr>
          <a:xfrm>
            <a:off x="2778368" y="6469540"/>
            <a:ext cx="35872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b="1" dirty="0" smtClean="0">
                <a:solidFill>
                  <a:srgbClr val="002060"/>
                </a:solidFill>
              </a:rPr>
              <a:t>www.candidatotransparente.cl</a:t>
            </a:r>
            <a:endParaRPr lang="es-CL" b="1" dirty="0">
              <a:solidFill>
                <a:srgbClr val="002060"/>
              </a:solidFill>
            </a:endParaRPr>
          </a:p>
        </p:txBody>
      </p:sp>
      <p:pic>
        <p:nvPicPr>
          <p:cNvPr id="48537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0833" y="1725115"/>
            <a:ext cx="6372200" cy="25679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72400" y="0"/>
            <a:ext cx="6803856" cy="1143000"/>
          </a:xfrm>
        </p:spPr>
        <p:txBody>
          <a:bodyPr/>
          <a:lstStyle/>
          <a:p>
            <a:pPr algn="l" eaLnBrk="1" hangingPunct="1"/>
            <a:r>
              <a:rPr lang="es-CL" sz="3600" b="1" spc="-150" dirty="0" smtClean="0">
                <a:solidFill>
                  <a:srgbClr val="0070C0"/>
                </a:solidFill>
                <a:latin typeface="Berlin Sans FB Demi" pitchFamily="34" charset="0"/>
                <a:ea typeface="+mn-ea"/>
                <a:cs typeface="Segoe UI" pitchFamily="34" charset="0"/>
              </a:rPr>
              <a:t>Adhesión al </a:t>
            </a:r>
            <a:br>
              <a:rPr lang="es-CL" sz="3600" b="1" spc="-150" dirty="0" smtClean="0">
                <a:solidFill>
                  <a:srgbClr val="0070C0"/>
                </a:solidFill>
                <a:latin typeface="Berlin Sans FB Demi" pitchFamily="34" charset="0"/>
                <a:ea typeface="+mn-ea"/>
                <a:cs typeface="Segoe UI" pitchFamily="34" charset="0"/>
              </a:rPr>
            </a:br>
            <a:r>
              <a:rPr lang="es-CL" sz="3600" b="1" spc="-150" dirty="0" smtClean="0">
                <a:solidFill>
                  <a:srgbClr val="0070C0"/>
                </a:solidFill>
                <a:latin typeface="Berlin Sans FB Demi" pitchFamily="34" charset="0"/>
                <a:ea typeface="+mn-ea"/>
                <a:cs typeface="Segoe UI" pitchFamily="34" charset="0"/>
              </a:rPr>
              <a:t>Candidato Transparente</a:t>
            </a:r>
            <a:endParaRPr lang="es-CL" sz="3600" b="1" spc="-150" dirty="0">
              <a:solidFill>
                <a:srgbClr val="0070C0"/>
              </a:solidFill>
              <a:latin typeface="Berlin Sans FB Demi" pitchFamily="34" charset="0"/>
              <a:ea typeface="+mn-ea"/>
              <a:cs typeface="Segoe UI" pitchFamily="34" charset="0"/>
            </a:endParaRPr>
          </a:p>
        </p:txBody>
      </p:sp>
      <p:pic>
        <p:nvPicPr>
          <p:cNvPr id="5" name="4 Imagen"/>
          <p:cNvPicPr>
            <a:picLocks noChangeAspect="1"/>
          </p:cNvPicPr>
          <p:nvPr/>
        </p:nvPicPr>
        <p:blipFill>
          <a:blip r:embed="rId4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701909"/>
            <a:ext cx="3454181" cy="3454181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3755565" y="1280776"/>
            <a:ext cx="477085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4000" b="1" dirty="0" smtClean="0">
                <a:solidFill>
                  <a:schemeClr val="accent2">
                    <a:lumMod val="25000"/>
                  </a:schemeClr>
                </a:solidFill>
                <a:latin typeface="Berlin Sans FB Demi" pitchFamily="34" charset="0"/>
              </a:rPr>
              <a:t>43</a:t>
            </a:r>
            <a:r>
              <a:rPr lang="es-CL" sz="2400" b="1" dirty="0" smtClean="0">
                <a:solidFill>
                  <a:schemeClr val="accent2">
                    <a:lumMod val="25000"/>
                  </a:schemeClr>
                </a:solidFill>
                <a:latin typeface="Berlin Sans FB Demi" pitchFamily="34" charset="0"/>
              </a:rPr>
              <a:t> </a:t>
            </a:r>
            <a:r>
              <a:rPr lang="es-CL" sz="2400" b="1" dirty="0">
                <a:solidFill>
                  <a:schemeClr val="accent2">
                    <a:lumMod val="25000"/>
                  </a:schemeClr>
                </a:solidFill>
                <a:latin typeface="Berlin Sans FB Demi" pitchFamily="34" charset="0"/>
              </a:rPr>
              <a:t>Candidatos en la </a:t>
            </a:r>
            <a:r>
              <a:rPr lang="es-CL" sz="2400" b="1" dirty="0" smtClean="0">
                <a:solidFill>
                  <a:schemeClr val="accent2">
                    <a:lumMod val="25000"/>
                  </a:schemeClr>
                </a:solidFill>
                <a:latin typeface="Berlin Sans FB Demi" pitchFamily="34" charset="0"/>
              </a:rPr>
              <a:t>plataforma</a:t>
            </a:r>
          </a:p>
        </p:txBody>
      </p:sp>
      <p:sp>
        <p:nvSpPr>
          <p:cNvPr id="7" name="6 CuadroTexto"/>
          <p:cNvSpPr txBox="1"/>
          <p:nvPr/>
        </p:nvSpPr>
        <p:spPr>
          <a:xfrm>
            <a:off x="3770526" y="1981773"/>
            <a:ext cx="519294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3600" b="1" dirty="0" smtClean="0">
                <a:solidFill>
                  <a:srgbClr val="0070C0"/>
                </a:solidFill>
                <a:latin typeface="Berlin Sans FB Demi" pitchFamily="34" charset="0"/>
              </a:rPr>
              <a:t>74</a:t>
            </a:r>
            <a:r>
              <a:rPr lang="es-CL" sz="2400" b="1" dirty="0" smtClean="0">
                <a:solidFill>
                  <a:srgbClr val="0070C0"/>
                </a:solidFill>
                <a:latin typeface="Berlin Sans FB Demi" pitchFamily="34" charset="0"/>
              </a:rPr>
              <a:t> </a:t>
            </a:r>
            <a:r>
              <a:rPr lang="es-CL" sz="2400" b="1" dirty="0">
                <a:solidFill>
                  <a:srgbClr val="0070C0"/>
                </a:solidFill>
                <a:latin typeface="Berlin Sans FB Demi" pitchFamily="34" charset="0"/>
              </a:rPr>
              <a:t>Candidatos en proceso de subir información</a:t>
            </a:r>
          </a:p>
        </p:txBody>
      </p:sp>
      <p:sp>
        <p:nvSpPr>
          <p:cNvPr id="9" name="8 CuadroTexto"/>
          <p:cNvSpPr txBox="1"/>
          <p:nvPr/>
        </p:nvSpPr>
        <p:spPr>
          <a:xfrm>
            <a:off x="3782129" y="2816983"/>
            <a:ext cx="474429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L"/>
            </a:defPPr>
            <a:lvl1pPr algn="r">
              <a:defRPr sz="2400" b="1">
                <a:solidFill>
                  <a:schemeClr val="accent6">
                    <a:lumMod val="50000"/>
                  </a:schemeClr>
                </a:solidFill>
                <a:latin typeface="Berlin Sans FB Demi" pitchFamily="34" charset="0"/>
              </a:defRPr>
            </a:lvl1pPr>
          </a:lstStyle>
          <a:p>
            <a:pPr algn="l"/>
            <a:r>
              <a:rPr lang="es-CL" sz="3600" dirty="0">
                <a:solidFill>
                  <a:schemeClr val="accent3">
                    <a:lumMod val="75000"/>
                  </a:schemeClr>
                </a:solidFill>
              </a:rPr>
              <a:t>13</a:t>
            </a:r>
            <a:r>
              <a:rPr lang="es-CL" dirty="0">
                <a:solidFill>
                  <a:schemeClr val="accent3">
                    <a:lumMod val="75000"/>
                  </a:schemeClr>
                </a:solidFill>
              </a:rPr>
              <a:t> Partidos Políticos firmaron convenio con el CPLT </a:t>
            </a:r>
          </a:p>
        </p:txBody>
      </p:sp>
      <p:pic>
        <p:nvPicPr>
          <p:cNvPr id="49766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2391" y="3832645"/>
            <a:ext cx="2549214" cy="2554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657691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3 Título"/>
          <p:cNvSpPr txBox="1">
            <a:spLocks/>
          </p:cNvSpPr>
          <p:nvPr/>
        </p:nvSpPr>
        <p:spPr bwMode="auto">
          <a:xfrm>
            <a:off x="72400" y="0"/>
            <a:ext cx="6803856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eaLnBrk="1" hangingPunct="1"/>
            <a:r>
              <a:rPr lang="es-CL" sz="3600" b="1" spc="-150" dirty="0" smtClean="0">
                <a:solidFill>
                  <a:srgbClr val="0070C0"/>
                </a:solidFill>
                <a:latin typeface="Berlin Sans FB Demi" pitchFamily="34" charset="0"/>
                <a:ea typeface="+mn-ea"/>
                <a:cs typeface="Segoe UI" pitchFamily="34" charset="0"/>
              </a:rPr>
              <a:t>Rol del CPLT</a:t>
            </a:r>
            <a:endParaRPr lang="es-CL" sz="3600" b="1" spc="-150" dirty="0">
              <a:solidFill>
                <a:srgbClr val="0070C0"/>
              </a:solidFill>
              <a:latin typeface="Berlin Sans FB Demi" pitchFamily="34" charset="0"/>
              <a:ea typeface="+mn-ea"/>
              <a:cs typeface="Segoe UI" pitchFamily="34" charset="0"/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2267744" y="148478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s-CL" dirty="0"/>
          </a:p>
        </p:txBody>
      </p:sp>
      <p:sp>
        <p:nvSpPr>
          <p:cNvPr id="5" name="20 CuadroTexto"/>
          <p:cNvSpPr txBox="1"/>
          <p:nvPr/>
        </p:nvSpPr>
        <p:spPr>
          <a:xfrm>
            <a:off x="1727684" y="4230671"/>
            <a:ext cx="66967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s-CL" sz="1600" b="1" kern="0" dirty="0" smtClean="0">
                <a:solidFill>
                  <a:srgbClr val="002060"/>
                </a:solidFill>
                <a:latin typeface="Century Gothic" pitchFamily="34" charset="0"/>
                <a:cs typeface="Arial" pitchFamily="34" charset="0"/>
              </a:rPr>
              <a:t>MISIÓN CONSEJO PARA LA TRANSPARENCIA</a:t>
            </a:r>
            <a:endParaRPr lang="es-CL" sz="1600" b="1" kern="0" dirty="0">
              <a:solidFill>
                <a:srgbClr val="002060"/>
              </a:solidFill>
              <a:latin typeface="Century Gothic" pitchFamily="34" charset="0"/>
              <a:cs typeface="Arial" pitchFamily="34" charset="0"/>
            </a:endParaRPr>
          </a:p>
        </p:txBody>
      </p:sp>
      <p:sp>
        <p:nvSpPr>
          <p:cNvPr id="6" name="23 Rectángulo"/>
          <p:cNvSpPr/>
          <p:nvPr/>
        </p:nvSpPr>
        <p:spPr>
          <a:xfrm>
            <a:off x="719572" y="2288775"/>
            <a:ext cx="7704856" cy="181588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s-CL" sz="2800" kern="0" dirty="0" smtClean="0">
                <a:solidFill>
                  <a:schemeClr val="bg1">
                    <a:lumMod val="50000"/>
                  </a:schemeClr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Existimos para promover y cooperar en la construcción e institucionalización de una </a:t>
            </a:r>
            <a:r>
              <a:rPr lang="es-CL" sz="2800" kern="0" dirty="0" smtClean="0">
                <a:solidFill>
                  <a:srgbClr val="0070C0"/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cultura de la transparencia en Chile</a:t>
            </a:r>
            <a:r>
              <a:rPr lang="es-CL" sz="2800" kern="0" dirty="0" smtClean="0">
                <a:solidFill>
                  <a:schemeClr val="bg1">
                    <a:lumMod val="50000"/>
                  </a:schemeClr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, garantizando el derecho de acceso a la información pública </a:t>
            </a:r>
          </a:p>
          <a:p>
            <a:pPr algn="r">
              <a:defRPr/>
            </a:pPr>
            <a:r>
              <a:rPr lang="es-CL" sz="2800" kern="0" dirty="0" smtClean="0">
                <a:solidFill>
                  <a:schemeClr val="bg1">
                    <a:lumMod val="50000"/>
                  </a:schemeClr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de las personas</a:t>
            </a:r>
            <a:endParaRPr lang="es-CL" sz="2800" kern="0" dirty="0">
              <a:solidFill>
                <a:schemeClr val="bg1">
                  <a:lumMod val="50000"/>
                </a:schemeClr>
              </a:solidFill>
              <a:latin typeface="Agency FB" pitchFamily="34" charset="0"/>
              <a:ea typeface="ＭＳ Ｐゴシック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46038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3 Título"/>
          <p:cNvSpPr txBox="1">
            <a:spLocks/>
          </p:cNvSpPr>
          <p:nvPr/>
        </p:nvSpPr>
        <p:spPr bwMode="auto">
          <a:xfrm>
            <a:off x="179512" y="116632"/>
            <a:ext cx="6803856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eaLnBrk="1" hangingPunct="1"/>
            <a:r>
              <a:rPr lang="es-CL" sz="3600" b="1" spc="-150" dirty="0" smtClean="0">
                <a:solidFill>
                  <a:srgbClr val="0070C0"/>
                </a:solidFill>
                <a:latin typeface="Berlin Sans FB Demi" pitchFamily="34" charset="0"/>
                <a:ea typeface="+mn-ea"/>
                <a:cs typeface="Segoe UI" pitchFamily="34" charset="0"/>
              </a:rPr>
              <a:t>Promoción de la Transparencia</a:t>
            </a:r>
            <a:endParaRPr lang="es-CL" sz="3600" b="1" spc="-150" dirty="0">
              <a:solidFill>
                <a:srgbClr val="0070C0"/>
              </a:solidFill>
              <a:latin typeface="Berlin Sans FB Demi" pitchFamily="34" charset="0"/>
              <a:ea typeface="+mn-ea"/>
              <a:cs typeface="Segoe UI" pitchFamily="34" charset="0"/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2267744" y="148478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s-CL" dirty="0"/>
          </a:p>
        </p:txBody>
      </p:sp>
      <p:pic>
        <p:nvPicPr>
          <p:cNvPr id="7" name="6 Image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1484784"/>
            <a:ext cx="8704967" cy="4896544"/>
          </a:xfrm>
          <a:prstGeom prst="rect">
            <a:avLst/>
          </a:prstGeom>
        </p:spPr>
      </p:pic>
      <p:sp>
        <p:nvSpPr>
          <p:cNvPr id="8" name="7 CuadroTexto"/>
          <p:cNvSpPr txBox="1"/>
          <p:nvPr/>
        </p:nvSpPr>
        <p:spPr>
          <a:xfrm>
            <a:off x="499547" y="1863389"/>
            <a:ext cx="8064896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 smtClean="0">
                <a:solidFill>
                  <a:schemeClr val="bg1">
                    <a:lumMod val="95000"/>
                  </a:schemeClr>
                </a:solidFill>
                <a:latin typeface="Bradley Hand ITC" pitchFamily="66" charset="0"/>
              </a:rPr>
              <a:t>Acciones de Capacitación del CPLT dirigidas a ciudadanos y funcionarios públicos con el fin  de promover e instalar una cultura de la transparencia</a:t>
            </a:r>
          </a:p>
          <a:p>
            <a:endParaRPr lang="es-CL" sz="2800" b="1" dirty="0">
              <a:solidFill>
                <a:schemeClr val="bg1">
                  <a:lumMod val="95000"/>
                </a:schemeClr>
              </a:solidFill>
              <a:latin typeface="Bradley Hand ITC" pitchFamily="66" charset="0"/>
            </a:endParaRPr>
          </a:p>
          <a:p>
            <a:pPr algn="r"/>
            <a:r>
              <a:rPr lang="es-CL" sz="2800" b="1" dirty="0" smtClean="0">
                <a:solidFill>
                  <a:schemeClr val="bg1">
                    <a:lumMod val="95000"/>
                  </a:schemeClr>
                </a:solidFill>
                <a:latin typeface="Bradley Hand ITC" pitchFamily="66" charset="0"/>
              </a:rPr>
              <a:t>N° de participantes cursos presenciales	31.979</a:t>
            </a:r>
          </a:p>
          <a:p>
            <a:r>
              <a:rPr lang="es-CL" sz="2800" b="1" dirty="0" smtClean="0">
                <a:solidFill>
                  <a:schemeClr val="bg1">
                    <a:lumMod val="95000"/>
                  </a:schemeClr>
                </a:solidFill>
                <a:latin typeface="Bradley Hand ITC" pitchFamily="66" charset="0"/>
              </a:rPr>
              <a:t>N° de inscritos </a:t>
            </a:r>
            <a:r>
              <a:rPr lang="es-CL" sz="2800" b="1" dirty="0" err="1" smtClean="0">
                <a:solidFill>
                  <a:schemeClr val="bg1">
                    <a:lumMod val="95000"/>
                  </a:schemeClr>
                </a:solidFill>
                <a:latin typeface="Bradley Hand ITC" pitchFamily="66" charset="0"/>
              </a:rPr>
              <a:t>EducaTransparencia</a:t>
            </a:r>
            <a:r>
              <a:rPr lang="es-CL" sz="2800" b="1" dirty="0" smtClean="0">
                <a:solidFill>
                  <a:schemeClr val="bg1">
                    <a:lumMod val="95000"/>
                  </a:schemeClr>
                </a:solidFill>
                <a:latin typeface="Bradley Hand ITC" pitchFamily="66" charset="0"/>
              </a:rPr>
              <a:t>		+46.572</a:t>
            </a:r>
          </a:p>
          <a:p>
            <a:pPr algn="r"/>
            <a:r>
              <a:rPr lang="es-CL" sz="2800" b="1" dirty="0" smtClean="0">
                <a:solidFill>
                  <a:schemeClr val="bg1">
                    <a:lumMod val="95000"/>
                  </a:schemeClr>
                </a:solidFill>
                <a:latin typeface="Bradley Hand ITC" pitchFamily="66" charset="0"/>
              </a:rPr>
              <a:t>	</a:t>
            </a:r>
            <a:r>
              <a:rPr lang="es-CL" sz="3600" b="1" dirty="0" smtClean="0">
                <a:solidFill>
                  <a:schemeClr val="bg1">
                    <a:lumMod val="95000"/>
                  </a:schemeClr>
                </a:solidFill>
                <a:latin typeface="Bradley Hand ITC" pitchFamily="66" charset="0"/>
              </a:rPr>
              <a:t>78.551</a:t>
            </a:r>
            <a:endParaRPr lang="es-CL" sz="2800" b="1" dirty="0">
              <a:solidFill>
                <a:schemeClr val="bg1">
                  <a:lumMod val="95000"/>
                </a:schemeClr>
              </a:solidFill>
              <a:latin typeface="Bradley Hand ITC" pitchFamily="66" charset="0"/>
            </a:endParaRPr>
          </a:p>
        </p:txBody>
      </p:sp>
      <p:cxnSp>
        <p:nvCxnSpPr>
          <p:cNvPr id="10" name="9 Conector recto"/>
          <p:cNvCxnSpPr/>
          <p:nvPr/>
        </p:nvCxnSpPr>
        <p:spPr>
          <a:xfrm>
            <a:off x="6983368" y="4437112"/>
            <a:ext cx="176509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grpSp>
        <p:nvGrpSpPr>
          <p:cNvPr id="19" name="18 Grupo"/>
          <p:cNvGrpSpPr/>
          <p:nvPr/>
        </p:nvGrpSpPr>
        <p:grpSpPr>
          <a:xfrm>
            <a:off x="2915816" y="4880964"/>
            <a:ext cx="4335671" cy="755208"/>
            <a:chOff x="2915816" y="4880964"/>
            <a:chExt cx="4335671" cy="755208"/>
          </a:xfrm>
        </p:grpSpPr>
        <p:cxnSp>
          <p:nvCxnSpPr>
            <p:cNvPr id="13" name="12 Conector recto de flecha"/>
            <p:cNvCxnSpPr/>
            <p:nvPr/>
          </p:nvCxnSpPr>
          <p:spPr>
            <a:xfrm flipV="1">
              <a:off x="2915816" y="4880964"/>
              <a:ext cx="0" cy="647486"/>
            </a:xfrm>
            <a:prstGeom prst="straightConnector1">
              <a:avLst/>
            </a:prstGeom>
            <a:ln w="76200">
              <a:solidFill>
                <a:schemeClr val="bg1"/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15 Rectángulo"/>
            <p:cNvSpPr/>
            <p:nvPr/>
          </p:nvSpPr>
          <p:spPr>
            <a:xfrm>
              <a:off x="3104198" y="4928286"/>
              <a:ext cx="4147289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CL" sz="4000" b="1" dirty="0">
                  <a:solidFill>
                    <a:schemeClr val="bg1">
                      <a:lumMod val="95000"/>
                    </a:schemeClr>
                  </a:solidFill>
                  <a:latin typeface="Brush Script MT" pitchFamily="66" charset="0"/>
                </a:rPr>
                <a:t>9</a:t>
              </a:r>
              <a:r>
                <a:rPr lang="es-CL" sz="4000" b="1" u="sng" dirty="0" smtClean="0">
                  <a:solidFill>
                    <a:schemeClr val="bg1">
                      <a:lumMod val="95000"/>
                    </a:schemeClr>
                  </a:solidFill>
                  <a:latin typeface="Brush Script MT" pitchFamily="66" charset="0"/>
                </a:rPr>
                <a:t>% </a:t>
              </a:r>
              <a:r>
                <a:rPr lang="es-CL" sz="3200" b="1" u="sng" dirty="0">
                  <a:solidFill>
                    <a:schemeClr val="bg1">
                      <a:lumMod val="95000"/>
                    </a:schemeClr>
                  </a:solidFill>
                  <a:latin typeface="Bradley Hand ITC" pitchFamily="66" charset="0"/>
                </a:rPr>
                <a:t>asistencia a </a:t>
              </a:r>
              <a:r>
                <a:rPr lang="es-CL" sz="3200" b="1" u="sng" dirty="0" smtClean="0">
                  <a:solidFill>
                    <a:schemeClr val="bg1">
                      <a:lumMod val="95000"/>
                    </a:schemeClr>
                  </a:solidFill>
                  <a:latin typeface="Bradley Hand ITC" pitchFamily="66" charset="0"/>
                </a:rPr>
                <a:t>cursos</a:t>
              </a:r>
            </a:p>
          </p:txBody>
        </p:sp>
      </p:grpSp>
      <p:sp>
        <p:nvSpPr>
          <p:cNvPr id="18" name="17 Rectángulo"/>
          <p:cNvSpPr/>
          <p:nvPr/>
        </p:nvSpPr>
        <p:spPr>
          <a:xfrm>
            <a:off x="2744001" y="5589280"/>
            <a:ext cx="51219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4000" b="1" u="sng" dirty="0">
                <a:solidFill>
                  <a:schemeClr val="bg1">
                    <a:lumMod val="95000"/>
                  </a:schemeClr>
                </a:solidFill>
                <a:latin typeface="Brush Script MT" pitchFamily="66" charset="0"/>
              </a:rPr>
              <a:t>78.551 </a:t>
            </a:r>
            <a:r>
              <a:rPr lang="es-CL" sz="3200" b="1" u="sng" dirty="0">
                <a:solidFill>
                  <a:schemeClr val="bg1">
                    <a:lumMod val="95000"/>
                  </a:schemeClr>
                </a:solidFill>
                <a:latin typeface="Bradley Hand ITC" pitchFamily="66" charset="0"/>
              </a:rPr>
              <a:t>personas capacitadas</a:t>
            </a:r>
          </a:p>
        </p:txBody>
      </p:sp>
    </p:spTree>
    <p:extLst>
      <p:ext uri="{BB962C8B-B14F-4D97-AF65-F5344CB8AC3E}">
        <p14:creationId xmlns:p14="http://schemas.microsoft.com/office/powerpoint/2010/main" val="1503172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0" y="6384499"/>
            <a:ext cx="9144000" cy="55146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CL" dirty="0"/>
          </a:p>
        </p:txBody>
      </p:sp>
      <p:sp>
        <p:nvSpPr>
          <p:cNvPr id="3" name="3 Título"/>
          <p:cNvSpPr txBox="1">
            <a:spLocks/>
          </p:cNvSpPr>
          <p:nvPr/>
        </p:nvSpPr>
        <p:spPr bwMode="auto">
          <a:xfrm>
            <a:off x="0" y="-228261"/>
            <a:ext cx="6803856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eaLnBrk="1" hangingPunct="1"/>
            <a:r>
              <a:rPr lang="es-CL" sz="3600" b="1" spc="-150" dirty="0" smtClean="0">
                <a:solidFill>
                  <a:srgbClr val="0070C0"/>
                </a:solidFill>
                <a:latin typeface="Berlin Sans FB Demi" pitchFamily="34" charset="0"/>
                <a:ea typeface="+mn-ea"/>
                <a:cs typeface="Segoe UI" pitchFamily="34" charset="0"/>
              </a:rPr>
              <a:t>Cuenta Pública Participativa 2016</a:t>
            </a:r>
            <a:endParaRPr lang="es-CL" sz="3600" b="1" spc="-150" dirty="0">
              <a:solidFill>
                <a:srgbClr val="0070C0"/>
              </a:solidFill>
              <a:latin typeface="Berlin Sans FB Demi" pitchFamily="34" charset="0"/>
              <a:ea typeface="+mn-ea"/>
              <a:cs typeface="Segoe UI" pitchFamily="34" charset="0"/>
            </a:endParaRPr>
          </a:p>
        </p:txBody>
      </p:sp>
      <p:pic>
        <p:nvPicPr>
          <p:cNvPr id="492547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23" t="25285" r="25754" b="4495"/>
          <a:stretch/>
        </p:blipFill>
        <p:spPr bwMode="auto">
          <a:xfrm>
            <a:off x="3640155" y="2226028"/>
            <a:ext cx="2312305" cy="1922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11 Rectángulo"/>
          <p:cNvSpPr/>
          <p:nvPr/>
        </p:nvSpPr>
        <p:spPr>
          <a:xfrm>
            <a:off x="42585" y="591368"/>
            <a:ext cx="749890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000" b="1" spc="-150" dirty="0">
                <a:solidFill>
                  <a:srgbClr val="002060"/>
                </a:solidFill>
                <a:latin typeface="Berlin Sans FB Demi" pitchFamily="34" charset="0"/>
                <a:cs typeface="Segoe UI" pitchFamily="34" charset="0"/>
              </a:rPr>
              <a:t>Período: 20 de abril al 30 de mayo de 2016</a:t>
            </a:r>
          </a:p>
        </p:txBody>
      </p:sp>
      <p:sp>
        <p:nvSpPr>
          <p:cNvPr id="17" name="16 Rectángulo"/>
          <p:cNvSpPr/>
          <p:nvPr/>
        </p:nvSpPr>
        <p:spPr>
          <a:xfrm>
            <a:off x="3401928" y="1336747"/>
            <a:ext cx="261607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b="1" dirty="0" smtClean="0">
                <a:latin typeface="Microsoft PhagsPa" pitchFamily="34" charset="0"/>
              </a:rPr>
              <a:t>Formulario de Comentarios </a:t>
            </a:r>
            <a:endParaRPr lang="es-CL" b="1" dirty="0"/>
          </a:p>
        </p:txBody>
      </p:sp>
      <p:grpSp>
        <p:nvGrpSpPr>
          <p:cNvPr id="10" name="9 Grupo"/>
          <p:cNvGrpSpPr/>
          <p:nvPr/>
        </p:nvGrpSpPr>
        <p:grpSpPr>
          <a:xfrm>
            <a:off x="173650" y="1338733"/>
            <a:ext cx="3875347" cy="5419629"/>
            <a:chOff x="173650" y="1338733"/>
            <a:chExt cx="3875347" cy="5419629"/>
          </a:xfrm>
        </p:grpSpPr>
        <p:sp>
          <p:nvSpPr>
            <p:cNvPr id="16" name="15 Rectángulo"/>
            <p:cNvSpPr/>
            <p:nvPr/>
          </p:nvSpPr>
          <p:spPr>
            <a:xfrm>
              <a:off x="1432922" y="6112031"/>
              <a:ext cx="2616075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s-CL" b="1" dirty="0" smtClean="0">
                  <a:latin typeface="Microsoft PhagsPa" pitchFamily="34" charset="0"/>
                </a:rPr>
                <a:t>Infografía </a:t>
              </a:r>
            </a:p>
            <a:p>
              <a:pPr algn="ctr"/>
              <a:r>
                <a:rPr lang="es-CL" b="1" dirty="0" smtClean="0">
                  <a:latin typeface="Microsoft PhagsPa" pitchFamily="34" charset="0"/>
                </a:rPr>
                <a:t>(Lenguaje Claro)</a:t>
              </a:r>
              <a:endParaRPr lang="es-CL" b="1" dirty="0"/>
            </a:p>
          </p:txBody>
        </p:sp>
        <p:grpSp>
          <p:nvGrpSpPr>
            <p:cNvPr id="9" name="8 Grupo"/>
            <p:cNvGrpSpPr/>
            <p:nvPr/>
          </p:nvGrpSpPr>
          <p:grpSpPr>
            <a:xfrm>
              <a:off x="173650" y="1338733"/>
              <a:ext cx="3207413" cy="4650732"/>
              <a:chOff x="173650" y="1338733"/>
              <a:chExt cx="3207413" cy="4650732"/>
            </a:xfrm>
          </p:grpSpPr>
          <p:pic>
            <p:nvPicPr>
              <p:cNvPr id="492548" name="Picture 4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3650" y="4909478"/>
                <a:ext cx="474518" cy="6054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1" name="Picture 4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26464" y="2047531"/>
                <a:ext cx="1549098" cy="19765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" name="3 Grupo"/>
              <p:cNvGrpSpPr/>
              <p:nvPr/>
            </p:nvGrpSpPr>
            <p:grpSpPr>
              <a:xfrm>
                <a:off x="1982935" y="4909478"/>
                <a:ext cx="1398128" cy="1079987"/>
                <a:chOff x="2411760" y="3389717"/>
                <a:chExt cx="2370807" cy="1808128"/>
              </a:xfrm>
            </p:grpSpPr>
            <p:pic>
              <p:nvPicPr>
                <p:cNvPr id="492549" name="Picture 5"/>
                <p:cNvPicPr>
                  <a:picLocks noChangeAspect="1" noChangeArrowheads="1"/>
                </p:cNvPicPr>
                <p:nvPr/>
              </p:nvPicPr>
              <p:blipFill rotWithShape="1"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31492"/>
                <a:stretch/>
              </p:blipFill>
              <p:spPr bwMode="auto">
                <a:xfrm>
                  <a:off x="2411760" y="3389717"/>
                  <a:ext cx="2160240" cy="55591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492550" name="Picture 6"/>
                <p:cNvPicPr>
                  <a:picLocks noChangeAspect="1" noChangeArrowheads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rot="20150218">
                  <a:off x="3365458" y="4595421"/>
                  <a:ext cx="1146077" cy="60242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492552" name="Picture 8"/>
                <p:cNvPicPr>
                  <a:picLocks noChangeAspect="1" noChangeArrowheads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rot="686471">
                  <a:off x="3385923" y="3872412"/>
                  <a:ext cx="1396644" cy="81382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492553" name="Picture 9"/>
                <p:cNvPicPr>
                  <a:picLocks noChangeAspect="1" noChangeArrowheads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583519" y="3915973"/>
                  <a:ext cx="867881" cy="126155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sp>
            <p:nvSpPr>
              <p:cNvPr id="14" name="13 Rectángulo"/>
              <p:cNvSpPr/>
              <p:nvPr/>
            </p:nvSpPr>
            <p:spPr>
              <a:xfrm>
                <a:off x="1063394" y="1338733"/>
                <a:ext cx="1512168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s-CL" b="1" dirty="0" smtClean="0">
                    <a:latin typeface="Microsoft PhagsPa" pitchFamily="34" charset="0"/>
                  </a:rPr>
                  <a:t>Memoria CPLT 2015</a:t>
                </a:r>
                <a:endParaRPr lang="es-CL" dirty="0"/>
              </a:p>
            </p:txBody>
          </p:sp>
          <p:sp>
            <p:nvSpPr>
              <p:cNvPr id="15" name="14 Rectángulo"/>
              <p:cNvSpPr/>
              <p:nvPr/>
            </p:nvSpPr>
            <p:spPr>
              <a:xfrm>
                <a:off x="620352" y="4909484"/>
                <a:ext cx="1512168" cy="58477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s-CL" sz="1600" b="1" dirty="0" smtClean="0">
                    <a:latin typeface="Microsoft PhagsPa" pitchFamily="34" charset="0"/>
                  </a:rPr>
                  <a:t>Resumen Ejecutivo</a:t>
                </a:r>
                <a:endParaRPr lang="es-CL" sz="1600" b="1" dirty="0"/>
              </a:p>
            </p:txBody>
          </p:sp>
          <p:pic>
            <p:nvPicPr>
              <p:cNvPr id="19" name="18 Imagen"/>
              <p:cNvPicPr>
                <a:picLocks noChangeAspect="1"/>
              </p:cNvPicPr>
              <p:nvPr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2823"/>
              <a:stretch/>
            </p:blipFill>
            <p:spPr>
              <a:xfrm rot="3134137">
                <a:off x="282468" y="4023269"/>
                <a:ext cx="1167786" cy="728236"/>
              </a:xfrm>
              <a:prstGeom prst="rect">
                <a:avLst/>
              </a:prstGeom>
            </p:spPr>
          </p:pic>
          <p:pic>
            <p:nvPicPr>
              <p:cNvPr id="22" name="21 Imagen"/>
              <p:cNvPicPr>
                <a:picLocks noChangeAspect="1"/>
              </p:cNvPicPr>
              <p:nvPr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2823"/>
              <a:stretch/>
            </p:blipFill>
            <p:spPr>
              <a:xfrm>
                <a:off x="1656857" y="4196227"/>
                <a:ext cx="1167786" cy="728236"/>
              </a:xfrm>
              <a:prstGeom prst="rect">
                <a:avLst/>
              </a:prstGeom>
            </p:spPr>
          </p:pic>
        </p:grpSp>
      </p:grpSp>
      <p:sp>
        <p:nvSpPr>
          <p:cNvPr id="24" name="23 Rectángulo"/>
          <p:cNvSpPr/>
          <p:nvPr/>
        </p:nvSpPr>
        <p:spPr>
          <a:xfrm>
            <a:off x="6420948" y="1401200"/>
            <a:ext cx="261607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b="1" dirty="0" smtClean="0">
                <a:latin typeface="Microsoft PhagsPa" pitchFamily="34" charset="0"/>
              </a:rPr>
              <a:t>Foros Encargados </a:t>
            </a:r>
          </a:p>
          <a:p>
            <a:pPr algn="ctr"/>
            <a:r>
              <a:rPr lang="es-CL" b="1" dirty="0" smtClean="0">
                <a:latin typeface="Microsoft PhagsPa" pitchFamily="34" charset="0"/>
              </a:rPr>
              <a:t>de Transparencia</a:t>
            </a:r>
            <a:endParaRPr lang="es-CL" b="1" dirty="0"/>
          </a:p>
        </p:txBody>
      </p:sp>
      <p:pic>
        <p:nvPicPr>
          <p:cNvPr id="6" name="5 Imagen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5782" y="2500366"/>
            <a:ext cx="2384518" cy="1427042"/>
          </a:xfrm>
          <a:prstGeom prst="rect">
            <a:avLst/>
          </a:prstGeom>
        </p:spPr>
      </p:pic>
      <p:sp>
        <p:nvSpPr>
          <p:cNvPr id="26" name="25 Rectángulo"/>
          <p:cNvSpPr/>
          <p:nvPr/>
        </p:nvSpPr>
        <p:spPr>
          <a:xfrm>
            <a:off x="6526967" y="4148637"/>
            <a:ext cx="261607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b="1" dirty="0" smtClean="0">
                <a:latin typeface="Microsoft PhagsPa" pitchFamily="34" charset="0"/>
              </a:rPr>
              <a:t>Foro </a:t>
            </a:r>
            <a:r>
              <a:rPr lang="es-CL" b="1" dirty="0" err="1" smtClean="0">
                <a:latin typeface="Microsoft PhagsPa" pitchFamily="34" charset="0"/>
              </a:rPr>
              <a:t>Funcionari@s</a:t>
            </a:r>
            <a:r>
              <a:rPr lang="es-CL" b="1" dirty="0" smtClean="0">
                <a:latin typeface="Microsoft PhagsPa" pitchFamily="34" charset="0"/>
              </a:rPr>
              <a:t> CPLT</a:t>
            </a:r>
            <a:endParaRPr lang="es-CL" b="1" dirty="0"/>
          </a:p>
        </p:txBody>
      </p:sp>
      <p:pic>
        <p:nvPicPr>
          <p:cNvPr id="7" name="6 Imagen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9736" y="4794968"/>
            <a:ext cx="2069137" cy="1340869"/>
          </a:xfrm>
          <a:prstGeom prst="rect">
            <a:avLst/>
          </a:prstGeom>
        </p:spPr>
      </p:pic>
      <p:sp>
        <p:nvSpPr>
          <p:cNvPr id="8" name="7 Más"/>
          <p:cNvSpPr/>
          <p:nvPr/>
        </p:nvSpPr>
        <p:spPr>
          <a:xfrm>
            <a:off x="2759860" y="2636912"/>
            <a:ext cx="621203" cy="576975"/>
          </a:xfrm>
          <a:prstGeom prst="mathPlus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9" name="28 Más"/>
          <p:cNvSpPr/>
          <p:nvPr/>
        </p:nvSpPr>
        <p:spPr>
          <a:xfrm>
            <a:off x="5952019" y="2636911"/>
            <a:ext cx="621203" cy="576975"/>
          </a:xfrm>
          <a:prstGeom prst="mathPlus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5316034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25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4925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925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4925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24" grpId="0"/>
      <p:bldP spid="26" grpId="0"/>
      <p:bldP spid="8" grpId="0" animBg="1"/>
      <p:bldP spid="2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2 Diagrama"/>
          <p:cNvGraphicFramePr/>
          <p:nvPr>
            <p:extLst>
              <p:ext uri="{D42A27DB-BD31-4B8C-83A1-F6EECF244321}">
                <p14:modId xmlns:p14="http://schemas.microsoft.com/office/powerpoint/2010/main" val="629829976"/>
              </p:ext>
            </p:extLst>
          </p:nvPr>
        </p:nvGraphicFramePr>
        <p:xfrm>
          <a:off x="149932" y="1412776"/>
          <a:ext cx="11622868" cy="5120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73730" name="1 Título"/>
          <p:cNvSpPr>
            <a:spLocks noGrp="1"/>
          </p:cNvSpPr>
          <p:nvPr>
            <p:ph type="title"/>
          </p:nvPr>
        </p:nvSpPr>
        <p:spPr>
          <a:xfrm>
            <a:off x="250825" y="-19050"/>
            <a:ext cx="6553423" cy="1144588"/>
          </a:xfrm>
        </p:spPr>
        <p:txBody>
          <a:bodyPr>
            <a:noAutofit/>
          </a:bodyPr>
          <a:lstStyle/>
          <a:p>
            <a:pPr algn="l" eaLnBrk="1" hangingPunct="1">
              <a:defRPr/>
            </a:pPr>
            <a:r>
              <a:rPr lang="es-CL" altLang="es-CL" sz="3600" dirty="0" smtClean="0">
                <a:latin typeface="Berlin Sans FB Demi" pitchFamily="34" charset="0"/>
              </a:rPr>
              <a:t>Observatorios Regionales </a:t>
            </a:r>
            <a:r>
              <a:rPr lang="es-CL" altLang="es-CL" sz="3600" dirty="0">
                <a:latin typeface="Berlin Sans FB Demi" pitchFamily="34" charset="0"/>
              </a:rPr>
              <a:t>en Transparencia</a:t>
            </a:r>
          </a:p>
        </p:txBody>
      </p:sp>
      <p:sp>
        <p:nvSpPr>
          <p:cNvPr id="4" name="3 Rectángulo"/>
          <p:cNvSpPr/>
          <p:nvPr/>
        </p:nvSpPr>
        <p:spPr>
          <a:xfrm>
            <a:off x="251520" y="1956233"/>
            <a:ext cx="342537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dirty="0" smtClean="0">
                <a:latin typeface="Microsoft PhagsPa" pitchFamily="34" charset="0"/>
              </a:rPr>
              <a:t>Su objetivo es fortalecer las capacidades de la Sociedad Civil para </a:t>
            </a:r>
            <a:r>
              <a:rPr lang="es-ES" b="1" dirty="0" smtClean="0">
                <a:latin typeface="Microsoft PhagsPa" pitchFamily="34" charset="0"/>
              </a:rPr>
              <a:t>complementar y profundizar el control social </a:t>
            </a:r>
            <a:r>
              <a:rPr lang="es-ES" dirty="0" smtClean="0">
                <a:latin typeface="Microsoft PhagsPa" pitchFamily="34" charset="0"/>
              </a:rPr>
              <a:t>respecto de estándares de transparencia en las instituciones públicas.</a:t>
            </a:r>
            <a:endParaRPr lang="es-ES" dirty="0">
              <a:latin typeface="Microsoft PhagsP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0953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9 Diagrama"/>
          <p:cNvGraphicFramePr/>
          <p:nvPr>
            <p:extLst>
              <p:ext uri="{D42A27DB-BD31-4B8C-83A1-F6EECF244321}">
                <p14:modId xmlns:p14="http://schemas.microsoft.com/office/powerpoint/2010/main" val="397619163"/>
              </p:ext>
            </p:extLst>
          </p:nvPr>
        </p:nvGraphicFramePr>
        <p:xfrm>
          <a:off x="809582" y="764704"/>
          <a:ext cx="7524836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10947" name="8 Objeto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62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8 Objeto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CuadroTexto"/>
          <p:cNvSpPr txBox="1"/>
          <p:nvPr>
            <p:custDataLst>
              <p:tags r:id="rId4"/>
            </p:custDataLst>
          </p:nvPr>
        </p:nvSpPr>
        <p:spPr>
          <a:xfrm>
            <a:off x="179512" y="42779"/>
            <a:ext cx="694826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531813">
              <a:defRPr/>
            </a:pPr>
            <a:r>
              <a:rPr lang="es-CL" sz="3600" b="1" spc="-150" dirty="0">
                <a:solidFill>
                  <a:srgbClr val="0070C0"/>
                </a:solidFill>
                <a:latin typeface="Berlin Sans FB Demi" pitchFamily="34" charset="0"/>
                <a:cs typeface="Segoe UI" pitchFamily="34" charset="0"/>
              </a:rPr>
              <a:t>Campañas de  Difusión 2016 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0" grpId="0">
        <p:bldAsOne/>
      </p:bldGraphic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0947" name="8 Objeto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665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CuadroTexto"/>
          <p:cNvSpPr txBox="1"/>
          <p:nvPr>
            <p:custDataLst>
              <p:tags r:id="rId4"/>
            </p:custDataLst>
          </p:nvPr>
        </p:nvSpPr>
        <p:spPr>
          <a:xfrm>
            <a:off x="179512" y="42779"/>
            <a:ext cx="694826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531813">
              <a:defRPr/>
            </a:pPr>
            <a:r>
              <a:rPr lang="es-CL" sz="3600" b="1" spc="-150" dirty="0" smtClean="0">
                <a:solidFill>
                  <a:srgbClr val="0070C0"/>
                </a:solidFill>
                <a:latin typeface="Berlin Sans FB Demi" pitchFamily="34" charset="0"/>
                <a:cs typeface="Segoe UI" pitchFamily="34" charset="0"/>
              </a:rPr>
              <a:t>Lenguaje Claro</a:t>
            </a:r>
            <a:endParaRPr lang="es-CL" sz="3600" b="1" spc="-150" dirty="0">
              <a:solidFill>
                <a:srgbClr val="0070C0"/>
              </a:solidFill>
              <a:latin typeface="Berlin Sans FB Demi" pitchFamily="34" charset="0"/>
              <a:cs typeface="Segoe UI" pitchFamily="34" charset="0"/>
            </a:endParaRPr>
          </a:p>
        </p:txBody>
      </p:sp>
      <p:pic>
        <p:nvPicPr>
          <p:cNvPr id="6" name="Picture 2" descr="image00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 rot="21267194">
            <a:off x="6243995" y="1802481"/>
            <a:ext cx="2093460" cy="26670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61905">
            <a:off x="6682109" y="3149737"/>
            <a:ext cx="1992916" cy="2097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1 Grupo"/>
          <p:cNvGrpSpPr/>
          <p:nvPr/>
        </p:nvGrpSpPr>
        <p:grpSpPr>
          <a:xfrm>
            <a:off x="170911" y="1180983"/>
            <a:ext cx="4251576" cy="4876309"/>
            <a:chOff x="170911" y="1180983"/>
            <a:chExt cx="4251576" cy="4876309"/>
          </a:xfrm>
        </p:grpSpPr>
        <p:pic>
          <p:nvPicPr>
            <p:cNvPr id="5" name="Picture 1" descr="Y:\Dirección General\Unidad Promoción y Clientes UPC\Lenguaje Claro\Logo CPLT Lenguaje claro FINAL.png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170911" y="1180983"/>
              <a:ext cx="4251576" cy="1349244"/>
            </a:xfrm>
            <a:prstGeom prst="rect">
              <a:avLst/>
            </a:prstGeom>
            <a:noFill/>
          </p:spPr>
        </p:pic>
        <p:pic>
          <p:nvPicPr>
            <p:cNvPr id="9" name="Picture 1" descr="Y:\Dirección General\Unidad Promoción y Clientes UPC\Material de Difusión\Dibujos Finales\7.jpg"/>
            <p:cNvPicPr>
              <a:picLocks noChangeAspect="1" noChangeArrowheads="1"/>
            </p:cNvPicPr>
            <p:nvPr/>
          </p:nvPicPr>
          <p:blipFill>
            <a:blip r:embed="rId13" cstate="print"/>
            <a:srcRect t="16535" r="6925" b="10964"/>
            <a:stretch>
              <a:fillRect/>
            </a:stretch>
          </p:blipFill>
          <p:spPr bwMode="auto">
            <a:xfrm>
              <a:off x="744737" y="2780928"/>
              <a:ext cx="3103924" cy="3276364"/>
            </a:xfrm>
            <a:prstGeom prst="rect">
              <a:avLst/>
            </a:prstGeom>
            <a:noFill/>
          </p:spPr>
        </p:pic>
      </p:grpSp>
      <p:grpSp>
        <p:nvGrpSpPr>
          <p:cNvPr id="11" name="10 Grupo"/>
          <p:cNvGrpSpPr/>
          <p:nvPr/>
        </p:nvGrpSpPr>
        <p:grpSpPr>
          <a:xfrm>
            <a:off x="4360157" y="3378319"/>
            <a:ext cx="1759841" cy="2224446"/>
            <a:chOff x="4360157" y="3378319"/>
            <a:chExt cx="1759841" cy="2224446"/>
          </a:xfrm>
        </p:grpSpPr>
        <p:pic>
          <p:nvPicPr>
            <p:cNvPr id="10" name="9 Imagen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93913" y="4145660"/>
              <a:ext cx="1126085" cy="145710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" name="3 Imagen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03005" y="3835929"/>
              <a:ext cx="1126085" cy="145710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3" name="2 Imagen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60157" y="3378319"/>
              <a:ext cx="1267513" cy="164068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30254230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2 Imagen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83257" y="332656"/>
            <a:ext cx="9875383" cy="6048672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755576" y="2303101"/>
            <a:ext cx="7632848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s-ES" sz="6600" dirty="0">
                <a:solidFill>
                  <a:srgbClr val="0070C0"/>
                </a:solidFill>
                <a:latin typeface="Berlin Sans FB Demi" pitchFamily="34" charset="0"/>
                <a:ea typeface="+mj-ea"/>
                <a:cs typeface="+mj-cs"/>
              </a:rPr>
              <a:t>BIENVENIDA</a:t>
            </a:r>
            <a:endParaRPr lang="es-CL" sz="6600" dirty="0">
              <a:solidFill>
                <a:srgbClr val="0070C0"/>
              </a:solidFill>
              <a:latin typeface="Berlin Sans FB Demi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605473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/>
        </p:nvSpPr>
        <p:spPr>
          <a:xfrm>
            <a:off x="0" y="0"/>
            <a:ext cx="644420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531813">
              <a:defRPr/>
            </a:pPr>
            <a:r>
              <a:rPr lang="es-CL" sz="3600" b="1" spc="-150" dirty="0" smtClean="0">
                <a:solidFill>
                  <a:srgbClr val="0070C0"/>
                </a:solidFill>
                <a:latin typeface="Berlin Sans FB Demi" pitchFamily="34" charset="0"/>
                <a:cs typeface="Segoe UI" pitchFamily="34" charset="0"/>
              </a:rPr>
              <a:t>Evolución Cumplimiento </a:t>
            </a:r>
            <a:r>
              <a:rPr lang="es-CL" sz="3600" b="1" spc="-150" dirty="0">
                <a:solidFill>
                  <a:srgbClr val="0070C0"/>
                </a:solidFill>
                <a:latin typeface="Berlin Sans FB Demi" pitchFamily="34" charset="0"/>
                <a:cs typeface="Segoe UI" pitchFamily="34" charset="0"/>
              </a:rPr>
              <a:t>en Transparencia Activa (TA) </a:t>
            </a:r>
            <a:endParaRPr lang="es-ES" sz="3600" b="1" spc="-150" dirty="0">
              <a:solidFill>
                <a:srgbClr val="0070C0"/>
              </a:solidFill>
              <a:latin typeface="Berlin Sans FB Demi" pitchFamily="34" charset="0"/>
              <a:cs typeface="Segoe UI" pitchFamily="34" charset="0"/>
            </a:endParaRPr>
          </a:p>
        </p:txBody>
      </p:sp>
      <p:grpSp>
        <p:nvGrpSpPr>
          <p:cNvPr id="14" name="13 Grupo"/>
          <p:cNvGrpSpPr/>
          <p:nvPr/>
        </p:nvGrpSpPr>
        <p:grpSpPr>
          <a:xfrm>
            <a:off x="551088" y="1464614"/>
            <a:ext cx="1843773" cy="1792492"/>
            <a:chOff x="395536" y="1981080"/>
            <a:chExt cx="1843773" cy="1792492"/>
          </a:xfrm>
        </p:grpSpPr>
        <p:sp>
          <p:nvSpPr>
            <p:cNvPr id="8" name="7 Rectángulo"/>
            <p:cNvSpPr/>
            <p:nvPr/>
          </p:nvSpPr>
          <p:spPr>
            <a:xfrm>
              <a:off x="395536" y="2973353"/>
              <a:ext cx="1843773" cy="80021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pPr algn="ctr">
                <a:spcAft>
                  <a:spcPts val="0"/>
                </a:spcAft>
              </a:pPr>
              <a:r>
                <a:rPr lang="es-CL" dirty="0" smtClean="0">
                  <a:latin typeface="Microsoft PhagsPa" pitchFamily="34" charset="0"/>
                </a:rPr>
                <a:t>Municipalidades</a:t>
              </a:r>
            </a:p>
            <a:p>
              <a:pPr algn="ctr">
                <a:spcAft>
                  <a:spcPts val="0"/>
                </a:spcAft>
              </a:pPr>
              <a:r>
                <a:rPr lang="es-CL" sz="2800" b="1" dirty="0" smtClean="0">
                  <a:solidFill>
                    <a:schemeClr val="accent4">
                      <a:lumMod val="75000"/>
                    </a:schemeClr>
                  </a:solidFill>
                  <a:latin typeface="Microsoft PhagsPa" pitchFamily="34" charset="0"/>
                  <a:ea typeface="Calibri"/>
                  <a:cs typeface="Times New Roman"/>
                </a:rPr>
                <a:t>76,9%</a:t>
              </a:r>
              <a:endParaRPr lang="es-CL" sz="2800" b="1" dirty="0">
                <a:solidFill>
                  <a:schemeClr val="accent4">
                    <a:lumMod val="75000"/>
                  </a:schemeClr>
                </a:solidFill>
                <a:latin typeface="Microsoft PhagsPa" pitchFamily="34" charset="0"/>
                <a:ea typeface="Calibri"/>
                <a:cs typeface="Times New Roman"/>
              </a:endParaRPr>
            </a:p>
          </p:txBody>
        </p:sp>
        <p:pic>
          <p:nvPicPr>
            <p:cNvPr id="2" name="1 Imagen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180" t="3624"/>
            <a:stretch/>
          </p:blipFill>
          <p:spPr>
            <a:xfrm>
              <a:off x="765141" y="1981080"/>
              <a:ext cx="1104562" cy="1003968"/>
            </a:xfrm>
            <a:prstGeom prst="rect">
              <a:avLst/>
            </a:prstGeom>
          </p:spPr>
        </p:pic>
      </p:grpSp>
      <p:sp>
        <p:nvSpPr>
          <p:cNvPr id="13" name="12 Rectángulo"/>
          <p:cNvSpPr/>
          <p:nvPr/>
        </p:nvSpPr>
        <p:spPr>
          <a:xfrm>
            <a:off x="1500513" y="6473297"/>
            <a:ext cx="576008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s-CL" sz="1050" dirty="0" smtClean="0">
                <a:latin typeface="Microsoft PhagsPa" pitchFamily="34" charset="0"/>
              </a:rPr>
              <a:t>*Proceso de fiscalización año 2015</a:t>
            </a:r>
          </a:p>
          <a:p>
            <a:pPr>
              <a:spcAft>
                <a:spcPts val="0"/>
              </a:spcAft>
            </a:pPr>
            <a:r>
              <a:rPr lang="es-CL" sz="1050" dirty="0" smtClean="0">
                <a:latin typeface="Microsoft PhagsPa" pitchFamily="34" charset="0"/>
                <a:ea typeface="Calibri"/>
                <a:cs typeface="Times New Roman"/>
              </a:rPr>
              <a:t>** Resultados promedio de 3 procesos de fiscalización focalizada (por </a:t>
            </a:r>
            <a:r>
              <a:rPr lang="es-CL" sz="1050" dirty="0" err="1" smtClean="0">
                <a:latin typeface="Microsoft PhagsPa" pitchFamily="34" charset="0"/>
                <a:ea typeface="Calibri"/>
                <a:cs typeface="Times New Roman"/>
              </a:rPr>
              <a:t>items</a:t>
            </a:r>
            <a:r>
              <a:rPr lang="es-CL" sz="1050" dirty="0">
                <a:latin typeface="Microsoft PhagsPa" pitchFamily="34" charset="0"/>
                <a:ea typeface="Calibri"/>
                <a:cs typeface="Times New Roman"/>
              </a:rPr>
              <a:t>)</a:t>
            </a:r>
            <a:r>
              <a:rPr lang="es-CL" sz="1050" dirty="0" smtClean="0">
                <a:latin typeface="Microsoft PhagsPa" pitchFamily="34" charset="0"/>
                <a:ea typeface="Calibri"/>
                <a:cs typeface="Times New Roman"/>
              </a:rPr>
              <a:t> del año 2015.</a:t>
            </a:r>
            <a:endParaRPr lang="es-CL" sz="1050" dirty="0">
              <a:latin typeface="Microsoft PhagsPa" pitchFamily="34" charset="0"/>
              <a:ea typeface="Calibri"/>
              <a:cs typeface="Times New Roman"/>
            </a:endParaRPr>
          </a:p>
        </p:txBody>
      </p:sp>
      <p:grpSp>
        <p:nvGrpSpPr>
          <p:cNvPr id="16" name="15 Grupo"/>
          <p:cNvGrpSpPr/>
          <p:nvPr/>
        </p:nvGrpSpPr>
        <p:grpSpPr>
          <a:xfrm>
            <a:off x="6653405" y="5051627"/>
            <a:ext cx="1455848" cy="1817440"/>
            <a:chOff x="589499" y="3850198"/>
            <a:chExt cx="1455848" cy="1817440"/>
          </a:xfrm>
        </p:grpSpPr>
        <p:sp>
          <p:nvSpPr>
            <p:cNvPr id="12" name="11 Rectángulo"/>
            <p:cNvSpPr/>
            <p:nvPr/>
          </p:nvSpPr>
          <p:spPr>
            <a:xfrm>
              <a:off x="589499" y="4590420"/>
              <a:ext cx="1455848" cy="107721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spcAft>
                  <a:spcPts val="0"/>
                </a:spcAft>
              </a:pPr>
              <a:r>
                <a:rPr lang="es-CL" dirty="0" smtClean="0">
                  <a:latin typeface="Microsoft PhagsPa" pitchFamily="34" charset="0"/>
                </a:rPr>
                <a:t>Fundaciones</a:t>
              </a:r>
            </a:p>
            <a:p>
              <a:pPr algn="ctr">
                <a:spcAft>
                  <a:spcPts val="0"/>
                </a:spcAft>
              </a:pPr>
              <a:r>
                <a:rPr lang="es-CL" sz="2800" b="1" dirty="0" smtClean="0">
                  <a:solidFill>
                    <a:schemeClr val="accent4">
                      <a:lumMod val="75000"/>
                    </a:schemeClr>
                  </a:solidFill>
                  <a:latin typeface="Microsoft PhagsPa" pitchFamily="34" charset="0"/>
                  <a:ea typeface="Calibri"/>
                  <a:cs typeface="Times New Roman"/>
                </a:rPr>
                <a:t>90,8%</a:t>
              </a:r>
              <a:endParaRPr lang="es-CL" sz="2800" b="1" dirty="0">
                <a:solidFill>
                  <a:schemeClr val="accent4">
                    <a:lumMod val="75000"/>
                  </a:schemeClr>
                </a:solidFill>
                <a:latin typeface="Microsoft PhagsPa" pitchFamily="34" charset="0"/>
                <a:ea typeface="Calibri"/>
                <a:cs typeface="Times New Roman"/>
              </a:endParaRPr>
            </a:p>
            <a:p>
              <a:pPr algn="ctr">
                <a:spcAft>
                  <a:spcPts val="0"/>
                </a:spcAft>
              </a:pPr>
              <a:endParaRPr lang="es-CL" dirty="0">
                <a:solidFill>
                  <a:schemeClr val="bg1"/>
                </a:solidFill>
                <a:latin typeface="Microsoft PhagsPa" pitchFamily="34" charset="0"/>
                <a:ea typeface="Calibri"/>
                <a:cs typeface="Times New Roman"/>
              </a:endParaRPr>
            </a:p>
          </p:txBody>
        </p:sp>
        <p:pic>
          <p:nvPicPr>
            <p:cNvPr id="15" name="14 Imagen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584" r="29565"/>
            <a:stretch/>
          </p:blipFill>
          <p:spPr>
            <a:xfrm>
              <a:off x="866019" y="3850198"/>
              <a:ext cx="902806" cy="806416"/>
            </a:xfrm>
            <a:prstGeom prst="rect">
              <a:avLst/>
            </a:prstGeom>
          </p:spPr>
        </p:pic>
      </p:grpSp>
      <p:grpSp>
        <p:nvGrpSpPr>
          <p:cNvPr id="22" name="21 Grupo"/>
          <p:cNvGrpSpPr/>
          <p:nvPr/>
        </p:nvGrpSpPr>
        <p:grpSpPr>
          <a:xfrm>
            <a:off x="3666173" y="1413448"/>
            <a:ext cx="2138727" cy="2169440"/>
            <a:chOff x="6175704" y="1200328"/>
            <a:chExt cx="2138727" cy="2169440"/>
          </a:xfrm>
          <a:noFill/>
        </p:grpSpPr>
        <p:sp>
          <p:nvSpPr>
            <p:cNvPr id="11" name="10 Rectángulo"/>
            <p:cNvSpPr/>
            <p:nvPr/>
          </p:nvSpPr>
          <p:spPr>
            <a:xfrm>
              <a:off x="6175704" y="2292550"/>
              <a:ext cx="2138727" cy="1077218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algn="ctr">
                <a:spcAft>
                  <a:spcPts val="0"/>
                </a:spcAft>
              </a:pPr>
              <a:r>
                <a:rPr lang="es-CL" dirty="0" smtClean="0">
                  <a:latin typeface="Microsoft PhagsPa" pitchFamily="34" charset="0"/>
                </a:rPr>
                <a:t>Empresas Públicas*</a:t>
              </a:r>
            </a:p>
            <a:p>
              <a:pPr algn="ctr">
                <a:spcAft>
                  <a:spcPts val="0"/>
                </a:spcAft>
              </a:pPr>
              <a:r>
                <a:rPr lang="es-CL" sz="2800" b="1" dirty="0" smtClean="0">
                  <a:solidFill>
                    <a:schemeClr val="accent4">
                      <a:lumMod val="75000"/>
                    </a:schemeClr>
                  </a:solidFill>
                  <a:latin typeface="Microsoft PhagsPa" pitchFamily="34" charset="0"/>
                  <a:ea typeface="Calibri"/>
                  <a:cs typeface="Times New Roman"/>
                </a:rPr>
                <a:t>93,3%</a:t>
              </a:r>
              <a:endParaRPr lang="es-CL" sz="2800" b="1" dirty="0">
                <a:solidFill>
                  <a:schemeClr val="accent4">
                    <a:lumMod val="75000"/>
                  </a:schemeClr>
                </a:solidFill>
                <a:latin typeface="Microsoft PhagsPa" pitchFamily="34" charset="0"/>
                <a:ea typeface="Calibri"/>
                <a:cs typeface="Times New Roman"/>
              </a:endParaRPr>
            </a:p>
            <a:p>
              <a:pPr algn="ctr">
                <a:spcAft>
                  <a:spcPts val="0"/>
                </a:spcAft>
              </a:pPr>
              <a:endParaRPr lang="es-CL" dirty="0">
                <a:solidFill>
                  <a:schemeClr val="bg1"/>
                </a:solidFill>
                <a:latin typeface="Microsoft PhagsPa" pitchFamily="34" charset="0"/>
                <a:ea typeface="Calibri"/>
                <a:cs typeface="Times New Roman"/>
              </a:endParaRPr>
            </a:p>
          </p:txBody>
        </p:sp>
        <p:pic>
          <p:nvPicPr>
            <p:cNvPr id="17" name="16 Imagen"/>
            <p:cNvPicPr>
              <a:picLocks noChangeAspect="1"/>
            </p:cNvPicPr>
            <p:nvPr/>
          </p:nvPicPr>
          <p:blipFill>
            <a:blip r:embed="rId6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6822" y="1200328"/>
              <a:ext cx="1110735" cy="1110735"/>
            </a:xfrm>
            <a:prstGeom prst="rect">
              <a:avLst/>
            </a:prstGeom>
            <a:grpFill/>
          </p:spPr>
        </p:pic>
      </p:grpSp>
      <p:grpSp>
        <p:nvGrpSpPr>
          <p:cNvPr id="20" name="19 Grupo"/>
          <p:cNvGrpSpPr/>
          <p:nvPr/>
        </p:nvGrpSpPr>
        <p:grpSpPr>
          <a:xfrm>
            <a:off x="6582282" y="3026633"/>
            <a:ext cx="2066591" cy="1553899"/>
            <a:chOff x="6444208" y="4866252"/>
            <a:chExt cx="2066591" cy="1553899"/>
          </a:xfrm>
        </p:grpSpPr>
        <p:sp>
          <p:nvSpPr>
            <p:cNvPr id="9" name="8 Rectángulo"/>
            <p:cNvSpPr/>
            <p:nvPr/>
          </p:nvSpPr>
          <p:spPr>
            <a:xfrm>
              <a:off x="6444208" y="5681487"/>
              <a:ext cx="2066591" cy="73866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none">
              <a:spAutoFit/>
            </a:bodyPr>
            <a:lstStyle/>
            <a:p>
              <a:pPr algn="ctr">
                <a:spcAft>
                  <a:spcPts val="0"/>
                </a:spcAft>
              </a:pPr>
              <a:r>
                <a:rPr lang="es-CL" dirty="0" err="1" smtClean="0">
                  <a:latin typeface="Microsoft PhagsPa" pitchFamily="34" charset="0"/>
                </a:rPr>
                <a:t>SEREMI´s</a:t>
              </a:r>
              <a:r>
                <a:rPr lang="es-CL" dirty="0" smtClean="0">
                  <a:latin typeface="Microsoft PhagsPa" pitchFamily="34" charset="0"/>
                </a:rPr>
                <a:t> </a:t>
              </a:r>
              <a:r>
                <a:rPr lang="es-CL" u="sng" dirty="0" smtClean="0">
                  <a:latin typeface="Microsoft PhagsPa" pitchFamily="34" charset="0"/>
                </a:rPr>
                <a:t>de Salud</a:t>
              </a:r>
            </a:p>
            <a:p>
              <a:pPr algn="ctr">
                <a:spcAft>
                  <a:spcPts val="0"/>
                </a:spcAft>
              </a:pPr>
              <a:r>
                <a:rPr lang="es-CL" sz="2400" b="1" dirty="0">
                  <a:solidFill>
                    <a:schemeClr val="accent4">
                      <a:lumMod val="75000"/>
                    </a:schemeClr>
                  </a:solidFill>
                  <a:latin typeface="Microsoft PhagsPa" pitchFamily="34" charset="0"/>
                  <a:ea typeface="Calibri"/>
                  <a:cs typeface="Times New Roman"/>
                </a:rPr>
                <a:t>82,87%</a:t>
              </a:r>
            </a:p>
          </p:txBody>
        </p:sp>
        <p:pic>
          <p:nvPicPr>
            <p:cNvPr id="18" name="17 Imagen"/>
            <p:cNvPicPr>
              <a:picLocks noChangeAspect="1"/>
            </p:cNvPicPr>
            <p:nvPr/>
          </p:nvPicPr>
          <p:blipFill>
            <a:blip r:embed="rId7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20036" y="4866252"/>
              <a:ext cx="1114933" cy="765231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27" name="26 Grupo"/>
          <p:cNvGrpSpPr/>
          <p:nvPr/>
        </p:nvGrpSpPr>
        <p:grpSpPr>
          <a:xfrm>
            <a:off x="6396117" y="1200329"/>
            <a:ext cx="1697901" cy="1847322"/>
            <a:chOff x="3516076" y="1199281"/>
            <a:chExt cx="1697901" cy="1847322"/>
          </a:xfrm>
          <a:noFill/>
        </p:grpSpPr>
        <p:sp>
          <p:nvSpPr>
            <p:cNvPr id="7" name="6 Rectángulo"/>
            <p:cNvSpPr/>
            <p:nvPr/>
          </p:nvSpPr>
          <p:spPr>
            <a:xfrm>
              <a:off x="3516076" y="1969385"/>
              <a:ext cx="1697901" cy="1077218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algn="ctr">
                <a:spcAft>
                  <a:spcPts val="0"/>
                </a:spcAft>
              </a:pPr>
              <a:r>
                <a:rPr lang="es-CL" dirty="0" smtClean="0">
                  <a:latin typeface="Microsoft PhagsPa" pitchFamily="34" charset="0"/>
                </a:rPr>
                <a:t>Universidades*</a:t>
              </a:r>
            </a:p>
            <a:p>
              <a:pPr algn="ctr">
                <a:spcAft>
                  <a:spcPts val="0"/>
                </a:spcAft>
              </a:pPr>
              <a:r>
                <a:rPr lang="es-CL" sz="2800" b="1" dirty="0" smtClean="0">
                  <a:solidFill>
                    <a:schemeClr val="accent4">
                      <a:lumMod val="75000"/>
                    </a:schemeClr>
                  </a:solidFill>
                  <a:latin typeface="Microsoft PhagsPa" pitchFamily="34" charset="0"/>
                  <a:ea typeface="Calibri"/>
                  <a:cs typeface="Times New Roman"/>
                </a:rPr>
                <a:t>80,2%</a:t>
              </a:r>
              <a:endParaRPr lang="es-CL" sz="2800" b="1" dirty="0">
                <a:solidFill>
                  <a:schemeClr val="accent4">
                    <a:lumMod val="75000"/>
                  </a:schemeClr>
                </a:solidFill>
                <a:latin typeface="Microsoft PhagsPa" pitchFamily="34" charset="0"/>
                <a:ea typeface="Calibri"/>
                <a:cs typeface="Times New Roman"/>
              </a:endParaRPr>
            </a:p>
            <a:p>
              <a:pPr algn="ctr">
                <a:spcAft>
                  <a:spcPts val="0"/>
                </a:spcAft>
              </a:pPr>
              <a:endParaRPr lang="es-CL" dirty="0">
                <a:solidFill>
                  <a:schemeClr val="bg1"/>
                </a:solidFill>
                <a:latin typeface="Microsoft PhagsPa" pitchFamily="34" charset="0"/>
                <a:ea typeface="Calibri"/>
                <a:cs typeface="Times New Roman"/>
              </a:endParaRPr>
            </a:p>
          </p:txBody>
        </p:sp>
        <p:pic>
          <p:nvPicPr>
            <p:cNvPr id="19" name="18 Imagen"/>
            <p:cNvPicPr>
              <a:picLocks noChangeAspect="1"/>
            </p:cNvPicPr>
            <p:nvPr/>
          </p:nvPicPr>
          <p:blipFill>
            <a:blip r:embed="rId8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25570" y="1199281"/>
              <a:ext cx="709967" cy="836869"/>
            </a:xfrm>
            <a:prstGeom prst="rect">
              <a:avLst/>
            </a:prstGeom>
            <a:grpFill/>
          </p:spPr>
        </p:pic>
      </p:grpSp>
      <p:grpSp>
        <p:nvGrpSpPr>
          <p:cNvPr id="25" name="24 Grupo"/>
          <p:cNvGrpSpPr/>
          <p:nvPr/>
        </p:nvGrpSpPr>
        <p:grpSpPr>
          <a:xfrm>
            <a:off x="120065" y="4027925"/>
            <a:ext cx="2760896" cy="2047403"/>
            <a:chOff x="3222104" y="4173066"/>
            <a:chExt cx="2760896" cy="2047403"/>
          </a:xfrm>
        </p:grpSpPr>
        <p:sp>
          <p:nvSpPr>
            <p:cNvPr id="10" name="9 Rectángulo"/>
            <p:cNvSpPr/>
            <p:nvPr/>
          </p:nvSpPr>
          <p:spPr>
            <a:xfrm>
              <a:off x="3222104" y="4866252"/>
              <a:ext cx="2760896" cy="135421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>
                <a:spcAft>
                  <a:spcPts val="0"/>
                </a:spcAft>
              </a:pPr>
              <a:r>
                <a:rPr lang="es-CL" dirty="0">
                  <a:latin typeface="Microsoft PhagsPa" pitchFamily="34" charset="0"/>
                </a:rPr>
                <a:t>Corporaciones Municipales de Salud y </a:t>
              </a:r>
              <a:r>
                <a:rPr lang="es-CL" dirty="0" smtClean="0">
                  <a:latin typeface="Microsoft PhagsPa" pitchFamily="34" charset="0"/>
                </a:rPr>
                <a:t>Educación</a:t>
              </a:r>
            </a:p>
            <a:p>
              <a:pPr algn="ctr">
                <a:spcAft>
                  <a:spcPts val="0"/>
                </a:spcAft>
              </a:pPr>
              <a:r>
                <a:rPr lang="es-CL" sz="2800" b="1" dirty="0" smtClean="0">
                  <a:solidFill>
                    <a:schemeClr val="accent4">
                      <a:lumMod val="75000"/>
                    </a:schemeClr>
                  </a:solidFill>
                  <a:latin typeface="Microsoft PhagsPa" pitchFamily="34" charset="0"/>
                  <a:ea typeface="Calibri"/>
                  <a:cs typeface="Times New Roman"/>
                </a:rPr>
                <a:t>61,2%</a:t>
              </a:r>
              <a:endParaRPr lang="es-CL" b="1" dirty="0">
                <a:solidFill>
                  <a:schemeClr val="bg1"/>
                </a:solidFill>
                <a:latin typeface="Microsoft PhagsPa" pitchFamily="34" charset="0"/>
                <a:ea typeface="Calibri"/>
                <a:cs typeface="Times New Roman"/>
              </a:endParaRPr>
            </a:p>
          </p:txBody>
        </p:sp>
        <p:pic>
          <p:nvPicPr>
            <p:cNvPr id="23" name="22 Imagen"/>
            <p:cNvPicPr>
              <a:picLocks noChangeAspect="1"/>
            </p:cNvPicPr>
            <p:nvPr/>
          </p:nvPicPr>
          <p:blipFill rotWithShape="1">
            <a:blip r:embed="rId9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180" t="3624"/>
            <a:stretch/>
          </p:blipFill>
          <p:spPr>
            <a:xfrm>
              <a:off x="4267918" y="4173066"/>
              <a:ext cx="808138" cy="734540"/>
            </a:xfrm>
            <a:prstGeom prst="rect">
              <a:avLst/>
            </a:prstGeom>
          </p:spPr>
        </p:pic>
      </p:grpSp>
      <p:grpSp>
        <p:nvGrpSpPr>
          <p:cNvPr id="26" name="25 Grupo"/>
          <p:cNvGrpSpPr/>
          <p:nvPr/>
        </p:nvGrpSpPr>
        <p:grpSpPr>
          <a:xfrm>
            <a:off x="2851971" y="3882833"/>
            <a:ext cx="3440058" cy="1922904"/>
            <a:chOff x="5525039" y="2684445"/>
            <a:chExt cx="3440058" cy="1922904"/>
          </a:xfrm>
        </p:grpSpPr>
        <p:sp>
          <p:nvSpPr>
            <p:cNvPr id="6" name="5 Rectángulo"/>
            <p:cNvSpPr/>
            <p:nvPr/>
          </p:nvSpPr>
          <p:spPr>
            <a:xfrm>
              <a:off x="5525039" y="3653242"/>
              <a:ext cx="3440058" cy="95410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>
                <a:spcAft>
                  <a:spcPts val="0"/>
                </a:spcAft>
              </a:pPr>
              <a:r>
                <a:rPr lang="es-CL" dirty="0">
                  <a:latin typeface="Microsoft PhagsPa" pitchFamily="34" charset="0"/>
                </a:rPr>
                <a:t>Organismos de la Administración </a:t>
              </a:r>
              <a:r>
                <a:rPr lang="es-CL" dirty="0" smtClean="0">
                  <a:latin typeface="Microsoft PhagsPa" pitchFamily="34" charset="0"/>
                </a:rPr>
                <a:t>Central**</a:t>
              </a:r>
            </a:p>
            <a:p>
              <a:pPr algn="ctr">
                <a:lnSpc>
                  <a:spcPct val="100000"/>
                </a:lnSpc>
                <a:spcAft>
                  <a:spcPts val="0"/>
                </a:spcAft>
              </a:pPr>
              <a:r>
                <a:rPr lang="es-CL" dirty="0" smtClean="0">
                  <a:latin typeface="Microsoft PhagsPa" pitchFamily="34" charset="0"/>
                </a:rPr>
                <a:t>Promedio: </a:t>
              </a:r>
              <a:r>
                <a:rPr lang="es-CL" sz="2000" b="1" dirty="0" smtClean="0">
                  <a:solidFill>
                    <a:schemeClr val="accent4">
                      <a:lumMod val="75000"/>
                    </a:schemeClr>
                  </a:solidFill>
                  <a:latin typeface="Microsoft PhagsPa" pitchFamily="34" charset="0"/>
                  <a:ea typeface="Calibri"/>
                  <a:cs typeface="Times New Roman"/>
                </a:rPr>
                <a:t>81%</a:t>
              </a:r>
              <a:endParaRPr lang="es-CL" sz="2800" b="1" dirty="0">
                <a:solidFill>
                  <a:schemeClr val="accent4">
                    <a:lumMod val="75000"/>
                  </a:schemeClr>
                </a:solidFill>
                <a:latin typeface="Microsoft PhagsPa" pitchFamily="34" charset="0"/>
                <a:ea typeface="Calibri"/>
                <a:cs typeface="Times New Roman"/>
              </a:endParaRPr>
            </a:p>
          </p:txBody>
        </p:sp>
        <p:pic>
          <p:nvPicPr>
            <p:cNvPr id="24" name="23 Imagen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13633" y="2684445"/>
              <a:ext cx="968797" cy="96879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29669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0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0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0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0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1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0947" name="8 Objeto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74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CuadroTexto"/>
          <p:cNvSpPr txBox="1"/>
          <p:nvPr>
            <p:custDataLst>
              <p:tags r:id="rId4"/>
            </p:custDataLst>
          </p:nvPr>
        </p:nvSpPr>
        <p:spPr>
          <a:xfrm>
            <a:off x="179512" y="42779"/>
            <a:ext cx="694826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531813">
              <a:defRPr/>
            </a:pPr>
            <a:r>
              <a:rPr lang="es-CL" sz="3600" b="1" spc="-150" dirty="0" smtClean="0">
                <a:solidFill>
                  <a:srgbClr val="0070C0"/>
                </a:solidFill>
                <a:latin typeface="Berlin Sans FB Demi" pitchFamily="34" charset="0"/>
                <a:cs typeface="Segoe UI" pitchFamily="34" charset="0"/>
              </a:rPr>
              <a:t>Barreras solicitudes de acceso</a:t>
            </a:r>
            <a:endParaRPr lang="es-CL" sz="3600" b="1" spc="-150" dirty="0">
              <a:solidFill>
                <a:srgbClr val="0070C0"/>
              </a:solidFill>
              <a:latin typeface="Berlin Sans FB Demi" pitchFamily="34" charset="0"/>
              <a:cs typeface="Segoe UI" pitchFamily="34" charset="0"/>
            </a:endParaRPr>
          </a:p>
        </p:txBody>
      </p:sp>
      <p:sp>
        <p:nvSpPr>
          <p:cNvPr id="19" name="18 Rectángulo"/>
          <p:cNvSpPr/>
          <p:nvPr/>
        </p:nvSpPr>
        <p:spPr>
          <a:xfrm>
            <a:off x="87893" y="967555"/>
            <a:ext cx="896821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dirty="0" smtClean="0">
                <a:latin typeface="Microsoft PhagsPa" pitchFamily="34" charset="0"/>
              </a:rPr>
              <a:t>La evaluación en derecho de acceso a la información no llega al 80%, salvo excepciones como los municipios y las </a:t>
            </a:r>
            <a:r>
              <a:rPr lang="es-ES" dirty="0" err="1" smtClean="0">
                <a:latin typeface="Microsoft PhagsPa" pitchFamily="34" charset="0"/>
              </a:rPr>
              <a:t>SEREMI´s</a:t>
            </a:r>
            <a:r>
              <a:rPr lang="es-ES" dirty="0" smtClean="0">
                <a:latin typeface="Microsoft PhagsPa" pitchFamily="34" charset="0"/>
              </a:rPr>
              <a:t> </a:t>
            </a:r>
            <a:endParaRPr lang="es-ES" dirty="0">
              <a:latin typeface="Microsoft PhagsPa" pitchFamily="34" charset="0"/>
            </a:endParaRPr>
          </a:p>
        </p:txBody>
      </p:sp>
      <p:sp>
        <p:nvSpPr>
          <p:cNvPr id="20" name="19 Rectángulo"/>
          <p:cNvSpPr/>
          <p:nvPr/>
        </p:nvSpPr>
        <p:spPr>
          <a:xfrm>
            <a:off x="1504325" y="6501336"/>
            <a:ext cx="5760081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s-CL" sz="1050" dirty="0">
                <a:latin typeface="Microsoft PhagsPa" pitchFamily="34" charset="0"/>
              </a:rPr>
              <a:t>*</a:t>
            </a:r>
            <a:r>
              <a:rPr lang="es-CL" sz="1050" dirty="0" smtClean="0">
                <a:latin typeface="Microsoft PhagsPa" pitchFamily="34" charset="0"/>
              </a:rPr>
              <a:t>Proceso de fiscalización DAI electrónico año 2015</a:t>
            </a:r>
          </a:p>
          <a:p>
            <a:pPr>
              <a:spcAft>
                <a:spcPts val="0"/>
              </a:spcAft>
            </a:pPr>
            <a:r>
              <a:rPr lang="es-CL" sz="1050" dirty="0" smtClean="0">
                <a:latin typeface="Microsoft PhagsPa" pitchFamily="34" charset="0"/>
              </a:rPr>
              <a:t>***Proceso aplicado a SEREMI de Salud, Educación, Vivienda y Trabajo.</a:t>
            </a:r>
          </a:p>
        </p:txBody>
      </p:sp>
      <p:grpSp>
        <p:nvGrpSpPr>
          <p:cNvPr id="21" name="20 Grupo"/>
          <p:cNvGrpSpPr/>
          <p:nvPr/>
        </p:nvGrpSpPr>
        <p:grpSpPr>
          <a:xfrm>
            <a:off x="573673" y="1844824"/>
            <a:ext cx="1843773" cy="1792492"/>
            <a:chOff x="395536" y="1981080"/>
            <a:chExt cx="1843773" cy="1792492"/>
          </a:xfrm>
        </p:grpSpPr>
        <p:sp>
          <p:nvSpPr>
            <p:cNvPr id="22" name="21 Rectángulo"/>
            <p:cNvSpPr/>
            <p:nvPr/>
          </p:nvSpPr>
          <p:spPr>
            <a:xfrm>
              <a:off x="395536" y="2973353"/>
              <a:ext cx="1843773" cy="80021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pPr algn="ctr">
                <a:spcAft>
                  <a:spcPts val="0"/>
                </a:spcAft>
              </a:pPr>
              <a:r>
                <a:rPr lang="es-CL" dirty="0" smtClean="0">
                  <a:latin typeface="Microsoft PhagsPa" pitchFamily="34" charset="0"/>
                </a:rPr>
                <a:t>Municipalidades</a:t>
              </a:r>
            </a:p>
            <a:p>
              <a:pPr algn="ctr">
                <a:spcAft>
                  <a:spcPts val="0"/>
                </a:spcAft>
              </a:pPr>
              <a:r>
                <a:rPr lang="es-CL" sz="2800" b="1" dirty="0" smtClean="0">
                  <a:solidFill>
                    <a:schemeClr val="accent4">
                      <a:lumMod val="75000"/>
                    </a:schemeClr>
                  </a:solidFill>
                  <a:latin typeface="Microsoft PhagsPa" pitchFamily="34" charset="0"/>
                  <a:ea typeface="Calibri"/>
                  <a:cs typeface="Times New Roman"/>
                </a:rPr>
                <a:t>88,44%</a:t>
              </a:r>
              <a:endParaRPr lang="es-CL" sz="2800" b="1" dirty="0">
                <a:solidFill>
                  <a:schemeClr val="accent4">
                    <a:lumMod val="75000"/>
                  </a:schemeClr>
                </a:solidFill>
                <a:latin typeface="Microsoft PhagsPa" pitchFamily="34" charset="0"/>
                <a:ea typeface="Calibri"/>
                <a:cs typeface="Times New Roman"/>
              </a:endParaRPr>
            </a:p>
          </p:txBody>
        </p:sp>
        <p:pic>
          <p:nvPicPr>
            <p:cNvPr id="23" name="22 Imagen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180" t="3624"/>
            <a:stretch/>
          </p:blipFill>
          <p:spPr>
            <a:xfrm>
              <a:off x="765141" y="1981080"/>
              <a:ext cx="1104562" cy="1003968"/>
            </a:xfrm>
            <a:prstGeom prst="rect">
              <a:avLst/>
            </a:prstGeom>
          </p:spPr>
        </p:pic>
      </p:grpSp>
      <p:grpSp>
        <p:nvGrpSpPr>
          <p:cNvPr id="24" name="23 Grupo"/>
          <p:cNvGrpSpPr/>
          <p:nvPr/>
        </p:nvGrpSpPr>
        <p:grpSpPr>
          <a:xfrm>
            <a:off x="838169" y="4181549"/>
            <a:ext cx="1314784" cy="1553899"/>
            <a:chOff x="6820111" y="4866252"/>
            <a:chExt cx="1314784" cy="1553899"/>
          </a:xfrm>
        </p:grpSpPr>
        <p:sp>
          <p:nvSpPr>
            <p:cNvPr id="25" name="24 Rectángulo"/>
            <p:cNvSpPr/>
            <p:nvPr/>
          </p:nvSpPr>
          <p:spPr>
            <a:xfrm>
              <a:off x="6820111" y="5681487"/>
              <a:ext cx="1314784" cy="73866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none">
              <a:spAutoFit/>
            </a:bodyPr>
            <a:lstStyle/>
            <a:p>
              <a:pPr algn="ctr">
                <a:spcAft>
                  <a:spcPts val="0"/>
                </a:spcAft>
              </a:pPr>
              <a:r>
                <a:rPr lang="es-CL" dirty="0" err="1" smtClean="0">
                  <a:latin typeface="Microsoft PhagsPa" pitchFamily="34" charset="0"/>
                </a:rPr>
                <a:t>SEREMI´s</a:t>
              </a:r>
              <a:r>
                <a:rPr lang="es-CL" dirty="0" smtClean="0">
                  <a:latin typeface="Microsoft PhagsPa" pitchFamily="34" charset="0"/>
                </a:rPr>
                <a:t>**</a:t>
              </a:r>
            </a:p>
            <a:p>
              <a:pPr algn="ctr">
                <a:spcAft>
                  <a:spcPts val="0"/>
                </a:spcAft>
              </a:pPr>
              <a:r>
                <a:rPr lang="es-CL" sz="2400" b="1" dirty="0" smtClean="0">
                  <a:solidFill>
                    <a:schemeClr val="accent4">
                      <a:lumMod val="75000"/>
                    </a:schemeClr>
                  </a:solidFill>
                  <a:latin typeface="Microsoft PhagsPa" pitchFamily="34" charset="0"/>
                  <a:ea typeface="Calibri"/>
                  <a:cs typeface="Times New Roman"/>
                </a:rPr>
                <a:t>94,63%</a:t>
              </a:r>
              <a:endParaRPr lang="es-CL" sz="2400" b="1" dirty="0">
                <a:solidFill>
                  <a:schemeClr val="accent4">
                    <a:lumMod val="75000"/>
                  </a:schemeClr>
                </a:solidFill>
                <a:latin typeface="Microsoft PhagsPa" pitchFamily="34" charset="0"/>
                <a:ea typeface="Calibri"/>
                <a:cs typeface="Times New Roman"/>
              </a:endParaRPr>
            </a:p>
          </p:txBody>
        </p:sp>
        <p:pic>
          <p:nvPicPr>
            <p:cNvPr id="26" name="25 Imagen"/>
            <p:cNvPicPr>
              <a:picLocks noChangeAspect="1"/>
            </p:cNvPicPr>
            <p:nvPr/>
          </p:nvPicPr>
          <p:blipFill>
            <a:blip r:embed="rId11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20036" y="4866252"/>
              <a:ext cx="1114933" cy="765231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27" name="26 Grupo"/>
          <p:cNvGrpSpPr/>
          <p:nvPr/>
        </p:nvGrpSpPr>
        <p:grpSpPr>
          <a:xfrm>
            <a:off x="6921137" y="1944213"/>
            <a:ext cx="1697902" cy="1785767"/>
            <a:chOff x="3516076" y="1199281"/>
            <a:chExt cx="1697902" cy="1785767"/>
          </a:xfrm>
          <a:noFill/>
        </p:grpSpPr>
        <p:sp>
          <p:nvSpPr>
            <p:cNvPr id="28" name="27 Rectángulo"/>
            <p:cNvSpPr/>
            <p:nvPr/>
          </p:nvSpPr>
          <p:spPr>
            <a:xfrm>
              <a:off x="3516076" y="1969385"/>
              <a:ext cx="1697902" cy="1015663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algn="ctr">
                <a:spcAft>
                  <a:spcPts val="0"/>
                </a:spcAft>
              </a:pPr>
              <a:r>
                <a:rPr lang="es-CL" dirty="0" smtClean="0">
                  <a:latin typeface="Microsoft PhagsPa" pitchFamily="34" charset="0"/>
                </a:rPr>
                <a:t>Universidades*</a:t>
              </a:r>
            </a:p>
            <a:p>
              <a:pPr algn="ctr">
                <a:spcAft>
                  <a:spcPts val="0"/>
                </a:spcAft>
              </a:pPr>
              <a:r>
                <a:rPr lang="es-CL" sz="2400" b="1" dirty="0" smtClean="0">
                  <a:solidFill>
                    <a:schemeClr val="accent4">
                      <a:lumMod val="75000"/>
                    </a:schemeClr>
                  </a:solidFill>
                  <a:latin typeface="Microsoft PhagsPa" pitchFamily="34" charset="0"/>
                  <a:ea typeface="Calibri"/>
                  <a:cs typeface="Times New Roman"/>
                </a:rPr>
                <a:t>57,46%</a:t>
              </a:r>
              <a:endParaRPr lang="es-CL" sz="2400" b="1" dirty="0">
                <a:solidFill>
                  <a:schemeClr val="accent4">
                    <a:lumMod val="75000"/>
                  </a:schemeClr>
                </a:solidFill>
                <a:latin typeface="Microsoft PhagsPa" pitchFamily="34" charset="0"/>
                <a:ea typeface="Calibri"/>
                <a:cs typeface="Times New Roman"/>
              </a:endParaRPr>
            </a:p>
            <a:p>
              <a:pPr algn="ctr">
                <a:spcAft>
                  <a:spcPts val="0"/>
                </a:spcAft>
              </a:pPr>
              <a:endParaRPr lang="es-CL" dirty="0">
                <a:solidFill>
                  <a:schemeClr val="bg1"/>
                </a:solidFill>
                <a:latin typeface="Microsoft PhagsPa" pitchFamily="34" charset="0"/>
                <a:ea typeface="Calibri"/>
                <a:cs typeface="Times New Roman"/>
              </a:endParaRPr>
            </a:p>
          </p:txBody>
        </p:sp>
        <p:pic>
          <p:nvPicPr>
            <p:cNvPr id="29" name="28 Imagen"/>
            <p:cNvPicPr>
              <a:picLocks noChangeAspect="1"/>
            </p:cNvPicPr>
            <p:nvPr/>
          </p:nvPicPr>
          <p:blipFill>
            <a:blip r:embed="rId12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25570" y="1199281"/>
              <a:ext cx="709967" cy="836869"/>
            </a:xfrm>
            <a:prstGeom prst="rect">
              <a:avLst/>
            </a:prstGeom>
            <a:grpFill/>
          </p:spPr>
        </p:pic>
      </p:grpSp>
      <p:grpSp>
        <p:nvGrpSpPr>
          <p:cNvPr id="30" name="29 Grupo"/>
          <p:cNvGrpSpPr/>
          <p:nvPr/>
        </p:nvGrpSpPr>
        <p:grpSpPr>
          <a:xfrm>
            <a:off x="6142623" y="4342414"/>
            <a:ext cx="2760896" cy="2047403"/>
            <a:chOff x="3222104" y="4173066"/>
            <a:chExt cx="2760896" cy="2047403"/>
          </a:xfrm>
        </p:grpSpPr>
        <p:sp>
          <p:nvSpPr>
            <p:cNvPr id="31" name="30 Rectángulo"/>
            <p:cNvSpPr/>
            <p:nvPr/>
          </p:nvSpPr>
          <p:spPr>
            <a:xfrm>
              <a:off x="3222104" y="4866252"/>
              <a:ext cx="2760896" cy="135421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>
                <a:spcAft>
                  <a:spcPts val="0"/>
                </a:spcAft>
              </a:pPr>
              <a:r>
                <a:rPr lang="es-CL" dirty="0">
                  <a:latin typeface="Microsoft PhagsPa" pitchFamily="34" charset="0"/>
                </a:rPr>
                <a:t>Corporaciones Municipales de Salud y </a:t>
              </a:r>
              <a:r>
                <a:rPr lang="es-CL" dirty="0" smtClean="0">
                  <a:latin typeface="Microsoft PhagsPa" pitchFamily="34" charset="0"/>
                </a:rPr>
                <a:t>Educación</a:t>
              </a:r>
            </a:p>
            <a:p>
              <a:pPr algn="ctr">
                <a:spcAft>
                  <a:spcPts val="0"/>
                </a:spcAft>
              </a:pPr>
              <a:r>
                <a:rPr lang="es-CL" sz="2800" b="1" dirty="0" smtClean="0">
                  <a:solidFill>
                    <a:schemeClr val="accent4">
                      <a:lumMod val="75000"/>
                    </a:schemeClr>
                  </a:solidFill>
                  <a:latin typeface="Microsoft PhagsPa" pitchFamily="34" charset="0"/>
                  <a:ea typeface="Calibri"/>
                  <a:cs typeface="Times New Roman"/>
                </a:rPr>
                <a:t>51,09%</a:t>
              </a:r>
              <a:endParaRPr lang="es-CL" b="1" dirty="0">
                <a:solidFill>
                  <a:schemeClr val="bg1"/>
                </a:solidFill>
                <a:latin typeface="Microsoft PhagsPa" pitchFamily="34" charset="0"/>
                <a:ea typeface="Calibri"/>
                <a:cs typeface="Times New Roman"/>
              </a:endParaRPr>
            </a:p>
          </p:txBody>
        </p:sp>
        <p:pic>
          <p:nvPicPr>
            <p:cNvPr id="32" name="31 Imagen"/>
            <p:cNvPicPr>
              <a:picLocks noChangeAspect="1"/>
            </p:cNvPicPr>
            <p:nvPr/>
          </p:nvPicPr>
          <p:blipFill rotWithShape="1">
            <a:blip r:embed="rId1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180" t="3624"/>
            <a:stretch/>
          </p:blipFill>
          <p:spPr>
            <a:xfrm>
              <a:off x="4267918" y="4173066"/>
              <a:ext cx="808138" cy="734540"/>
            </a:xfrm>
            <a:prstGeom prst="rect">
              <a:avLst/>
            </a:prstGeom>
          </p:spPr>
        </p:pic>
      </p:grpSp>
      <p:grpSp>
        <p:nvGrpSpPr>
          <p:cNvPr id="33" name="32 Grupo"/>
          <p:cNvGrpSpPr/>
          <p:nvPr/>
        </p:nvGrpSpPr>
        <p:grpSpPr>
          <a:xfrm>
            <a:off x="2788449" y="2473093"/>
            <a:ext cx="3440058" cy="2323014"/>
            <a:chOff x="5525039" y="2684445"/>
            <a:chExt cx="3440058" cy="2323014"/>
          </a:xfrm>
        </p:grpSpPr>
        <p:sp>
          <p:nvSpPr>
            <p:cNvPr id="34" name="33 Rectángulo"/>
            <p:cNvSpPr/>
            <p:nvPr/>
          </p:nvSpPr>
          <p:spPr>
            <a:xfrm>
              <a:off x="5525039" y="3653242"/>
              <a:ext cx="3440058" cy="135421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>
                <a:spcAft>
                  <a:spcPts val="0"/>
                </a:spcAft>
              </a:pPr>
              <a:r>
                <a:rPr lang="es-CL" dirty="0">
                  <a:latin typeface="Microsoft PhagsPa" pitchFamily="34" charset="0"/>
                </a:rPr>
                <a:t>Organismos de la Administración </a:t>
              </a:r>
              <a:r>
                <a:rPr lang="es-CL" dirty="0" smtClean="0">
                  <a:latin typeface="Microsoft PhagsPa" pitchFamily="34" charset="0"/>
                </a:rPr>
                <a:t>Central*</a:t>
              </a:r>
            </a:p>
            <a:p>
              <a:pPr algn="ctr">
                <a:spcAft>
                  <a:spcPts val="0"/>
                </a:spcAft>
              </a:pPr>
              <a:r>
                <a:rPr lang="es-CL" sz="2800" b="1" dirty="0" smtClean="0">
                  <a:solidFill>
                    <a:schemeClr val="accent4">
                      <a:lumMod val="75000"/>
                    </a:schemeClr>
                  </a:solidFill>
                  <a:latin typeface="Microsoft PhagsPa" pitchFamily="34" charset="0"/>
                  <a:ea typeface="Calibri"/>
                  <a:cs typeface="Times New Roman"/>
                </a:rPr>
                <a:t>76,19%</a:t>
              </a:r>
              <a:endParaRPr lang="es-CL" sz="2800" b="1" dirty="0">
                <a:solidFill>
                  <a:schemeClr val="accent4">
                    <a:lumMod val="75000"/>
                  </a:schemeClr>
                </a:solidFill>
                <a:latin typeface="Microsoft PhagsPa" pitchFamily="34" charset="0"/>
                <a:ea typeface="Calibri"/>
                <a:cs typeface="Times New Roman"/>
              </a:endParaRPr>
            </a:p>
            <a:p>
              <a:pPr algn="ctr">
                <a:spcAft>
                  <a:spcPts val="0"/>
                </a:spcAft>
              </a:pPr>
              <a:endParaRPr lang="es-CL" dirty="0">
                <a:solidFill>
                  <a:schemeClr val="bg1"/>
                </a:solidFill>
                <a:latin typeface="Microsoft PhagsPa" pitchFamily="34" charset="0"/>
                <a:ea typeface="Calibri"/>
                <a:cs typeface="Times New Roman"/>
              </a:endParaRPr>
            </a:p>
          </p:txBody>
        </p:sp>
        <p:pic>
          <p:nvPicPr>
            <p:cNvPr id="35" name="34 Imagen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13633" y="2684445"/>
              <a:ext cx="968797" cy="96879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0396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0947" name="8 Objeto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697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CuadroTexto"/>
          <p:cNvSpPr txBox="1"/>
          <p:nvPr>
            <p:custDataLst>
              <p:tags r:id="rId4"/>
            </p:custDataLst>
          </p:nvPr>
        </p:nvSpPr>
        <p:spPr>
          <a:xfrm>
            <a:off x="179512" y="42779"/>
            <a:ext cx="694826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531813">
              <a:defRPr/>
            </a:pPr>
            <a:r>
              <a:rPr lang="es-CL" sz="3600" b="1" spc="-150" dirty="0" smtClean="0">
                <a:solidFill>
                  <a:srgbClr val="0070C0"/>
                </a:solidFill>
                <a:latin typeface="Berlin Sans FB Demi" pitchFamily="34" charset="0"/>
                <a:cs typeface="Segoe UI" pitchFamily="34" charset="0"/>
              </a:rPr>
              <a:t>Gestiones de incidencia Legislativa</a:t>
            </a:r>
            <a:endParaRPr lang="es-CL" sz="3600" b="1" spc="-150" dirty="0">
              <a:solidFill>
                <a:srgbClr val="0070C0"/>
              </a:solidFill>
              <a:latin typeface="Berlin Sans FB Demi" pitchFamily="34" charset="0"/>
              <a:cs typeface="Segoe UI" pitchFamily="34" charset="0"/>
            </a:endParaRPr>
          </a:p>
        </p:txBody>
      </p:sp>
      <p:graphicFrame>
        <p:nvGraphicFramePr>
          <p:cNvPr id="2" name="1 Diagrama"/>
          <p:cNvGraphicFramePr/>
          <p:nvPr>
            <p:extLst>
              <p:ext uri="{D42A27DB-BD31-4B8C-83A1-F6EECF244321}">
                <p14:modId xmlns:p14="http://schemas.microsoft.com/office/powerpoint/2010/main" val="2140884801"/>
              </p:ext>
            </p:extLst>
          </p:nvPr>
        </p:nvGraphicFramePr>
        <p:xfrm>
          <a:off x="-540568" y="1340768"/>
          <a:ext cx="11737304" cy="50832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  <p:extLst>
      <p:ext uri="{BB962C8B-B14F-4D97-AF65-F5344CB8AC3E}">
        <p14:creationId xmlns:p14="http://schemas.microsoft.com/office/powerpoint/2010/main" val="3953503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0947" name="8 Objeto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74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CuadroTexto"/>
          <p:cNvSpPr txBox="1"/>
          <p:nvPr>
            <p:custDataLst>
              <p:tags r:id="rId4"/>
            </p:custDataLst>
          </p:nvPr>
        </p:nvSpPr>
        <p:spPr>
          <a:xfrm>
            <a:off x="179512" y="42779"/>
            <a:ext cx="694826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531813">
              <a:defRPr/>
            </a:pPr>
            <a:r>
              <a:rPr lang="es-CL" sz="3600" b="1" spc="-150" dirty="0" smtClean="0">
                <a:solidFill>
                  <a:srgbClr val="0070C0"/>
                </a:solidFill>
                <a:latin typeface="Berlin Sans FB Demi" pitchFamily="34" charset="0"/>
                <a:cs typeface="Segoe UI" pitchFamily="34" charset="0"/>
              </a:rPr>
              <a:t>Riesgos  para el acceso a la información</a:t>
            </a:r>
            <a:endParaRPr lang="es-CL" sz="3600" b="1" spc="-150" dirty="0">
              <a:solidFill>
                <a:srgbClr val="0070C0"/>
              </a:solidFill>
              <a:latin typeface="Berlin Sans FB Demi" pitchFamily="34" charset="0"/>
              <a:cs typeface="Segoe UI" pitchFamily="34" charset="0"/>
            </a:endParaRPr>
          </a:p>
        </p:txBody>
      </p:sp>
      <p:graphicFrame>
        <p:nvGraphicFramePr>
          <p:cNvPr id="3" name="2 Diagrama"/>
          <p:cNvGraphicFramePr/>
          <p:nvPr>
            <p:extLst>
              <p:ext uri="{D42A27DB-BD31-4B8C-83A1-F6EECF244321}">
                <p14:modId xmlns:p14="http://schemas.microsoft.com/office/powerpoint/2010/main" val="1775713618"/>
              </p:ext>
            </p:extLst>
          </p:nvPr>
        </p:nvGraphicFramePr>
        <p:xfrm>
          <a:off x="2415123" y="2996952"/>
          <a:ext cx="4278052" cy="26899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8" name="7 Rectángulo"/>
          <p:cNvSpPr/>
          <p:nvPr/>
        </p:nvSpPr>
        <p:spPr>
          <a:xfrm>
            <a:off x="2051720" y="1124744"/>
            <a:ext cx="6820263" cy="18722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prstClr val="white"/>
              </a:solidFill>
            </a:endParaRPr>
          </a:p>
        </p:txBody>
      </p:sp>
      <p:sp>
        <p:nvSpPr>
          <p:cNvPr id="5" name="4 Rectángulo"/>
          <p:cNvSpPr/>
          <p:nvPr/>
        </p:nvSpPr>
        <p:spPr>
          <a:xfrm>
            <a:off x="2555776" y="2996952"/>
            <a:ext cx="4572000" cy="5760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prstClr val="white"/>
              </a:solidFill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490492" y="1764709"/>
            <a:ext cx="8127315" cy="120032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L" sz="3600" b="1" spc="-150" dirty="0">
                <a:solidFill>
                  <a:srgbClr val="006871">
                    <a:lumMod val="50000"/>
                  </a:srgbClr>
                </a:solidFill>
                <a:latin typeface="Berlin Sans FB Demi" pitchFamily="34" charset="0"/>
                <a:cs typeface="Segoe UI" pitchFamily="34" charset="0"/>
              </a:rPr>
              <a:t>Chile </a:t>
            </a:r>
            <a:r>
              <a:rPr lang="es-CL" sz="3600" b="1" spc="-150" dirty="0" smtClean="0">
                <a:solidFill>
                  <a:srgbClr val="006871">
                    <a:lumMod val="50000"/>
                  </a:srgbClr>
                </a:solidFill>
                <a:latin typeface="Berlin Sans FB Demi" pitchFamily="34" charset="0"/>
                <a:cs typeface="Segoe UI" pitchFamily="34" charset="0"/>
              </a:rPr>
              <a:t>requiere </a:t>
            </a:r>
            <a:r>
              <a:rPr lang="es-CL" sz="3600" b="1" spc="-150" dirty="0">
                <a:solidFill>
                  <a:srgbClr val="006871">
                    <a:lumMod val="50000"/>
                  </a:srgbClr>
                </a:solidFill>
                <a:latin typeface="Berlin Sans FB Demi" pitchFamily="34" charset="0"/>
                <a:cs typeface="Segoe UI" pitchFamily="34" charset="0"/>
              </a:rPr>
              <a:t>avanzar </a:t>
            </a:r>
            <a:r>
              <a:rPr lang="es-CL" sz="3600" b="1" spc="-150" dirty="0" smtClean="0">
                <a:solidFill>
                  <a:srgbClr val="006871">
                    <a:lumMod val="50000"/>
                  </a:srgbClr>
                </a:solidFill>
                <a:latin typeface="Berlin Sans FB Demi" pitchFamily="34" charset="0"/>
                <a:cs typeface="Segoe UI" pitchFamily="34" charset="0"/>
              </a:rPr>
              <a:t>hacia un</a:t>
            </a:r>
            <a:endParaRPr lang="es-CL" sz="3600" b="1" spc="-150" dirty="0">
              <a:solidFill>
                <a:srgbClr val="006871">
                  <a:lumMod val="50000"/>
                </a:srgbClr>
              </a:solidFill>
              <a:latin typeface="Berlin Sans FB Demi" pitchFamily="34" charset="0"/>
              <a:cs typeface="Segoe UI" pitchFamily="34" charset="0"/>
            </a:endParaRPr>
          </a:p>
          <a:p>
            <a:pPr algn="ctr"/>
            <a:r>
              <a:rPr lang="es-CL" sz="3600" b="1" spc="-150" dirty="0" smtClean="0">
                <a:solidFill>
                  <a:srgbClr val="006871">
                    <a:lumMod val="50000"/>
                  </a:srgbClr>
                </a:solidFill>
                <a:latin typeface="Berlin Sans FB Demi" pitchFamily="34" charset="0"/>
                <a:cs typeface="Segoe UI" pitchFamily="34" charset="0"/>
              </a:rPr>
              <a:t>«Sistema Integral </a:t>
            </a:r>
            <a:r>
              <a:rPr lang="es-CL" sz="3600" b="1" spc="-150" dirty="0">
                <a:solidFill>
                  <a:srgbClr val="006871">
                    <a:lumMod val="50000"/>
                  </a:srgbClr>
                </a:solidFill>
                <a:latin typeface="Berlin Sans FB Demi" pitchFamily="34" charset="0"/>
                <a:cs typeface="Segoe UI" pitchFamily="34" charset="0"/>
              </a:rPr>
              <a:t>de </a:t>
            </a:r>
            <a:r>
              <a:rPr lang="es-CL" sz="3600" b="1" spc="-150" dirty="0" smtClean="0">
                <a:solidFill>
                  <a:srgbClr val="006871">
                    <a:lumMod val="50000"/>
                  </a:srgbClr>
                </a:solidFill>
                <a:latin typeface="Berlin Sans FB Demi" pitchFamily="34" charset="0"/>
                <a:cs typeface="Segoe UI" pitchFamily="34" charset="0"/>
              </a:rPr>
              <a:t>Transparencia»</a:t>
            </a:r>
            <a:endParaRPr lang="es-CL" sz="3600" b="1" spc="-150" dirty="0">
              <a:solidFill>
                <a:srgbClr val="006871">
                  <a:lumMod val="50000"/>
                </a:srgbClr>
              </a:solidFill>
              <a:latin typeface="Berlin Sans FB Dem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23902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3 Título"/>
          <p:cNvSpPr txBox="1">
            <a:spLocks/>
          </p:cNvSpPr>
          <p:nvPr/>
        </p:nvSpPr>
        <p:spPr bwMode="auto">
          <a:xfrm>
            <a:off x="72400" y="0"/>
            <a:ext cx="6803856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eaLnBrk="1" hangingPunct="1"/>
            <a:r>
              <a:rPr lang="es-CL" sz="3600" b="1" spc="-150" dirty="0" smtClean="0">
                <a:solidFill>
                  <a:srgbClr val="0070C0"/>
                </a:solidFill>
                <a:latin typeface="Berlin Sans FB Demi" pitchFamily="34" charset="0"/>
                <a:ea typeface="+mn-ea"/>
                <a:cs typeface="Segoe UI" pitchFamily="34" charset="0"/>
              </a:rPr>
              <a:t>Desafío permanente</a:t>
            </a:r>
            <a:endParaRPr lang="es-CL" sz="3600" b="1" spc="-150" dirty="0">
              <a:solidFill>
                <a:srgbClr val="0070C0"/>
              </a:solidFill>
              <a:latin typeface="Berlin Sans FB Demi" pitchFamily="34" charset="0"/>
              <a:ea typeface="+mn-ea"/>
              <a:cs typeface="Segoe UI" pitchFamily="34" charset="0"/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2267744" y="148478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s-CL" dirty="0"/>
          </a:p>
        </p:txBody>
      </p:sp>
      <p:sp>
        <p:nvSpPr>
          <p:cNvPr id="5" name="20 CuadroTexto"/>
          <p:cNvSpPr txBox="1"/>
          <p:nvPr/>
        </p:nvSpPr>
        <p:spPr>
          <a:xfrm>
            <a:off x="1727684" y="4230671"/>
            <a:ext cx="66967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s-CL" sz="1600" b="1" kern="0" dirty="0" smtClean="0">
                <a:solidFill>
                  <a:srgbClr val="002060"/>
                </a:solidFill>
                <a:latin typeface="Century Gothic" pitchFamily="34" charset="0"/>
                <a:cs typeface="Arial" pitchFamily="34" charset="0"/>
              </a:rPr>
              <a:t>MISIÓN CONSEJO PARA LA TRANSPARENCIA</a:t>
            </a:r>
            <a:endParaRPr lang="es-CL" sz="1600" b="1" kern="0" dirty="0">
              <a:solidFill>
                <a:srgbClr val="002060"/>
              </a:solidFill>
              <a:latin typeface="Century Gothic" pitchFamily="34" charset="0"/>
              <a:cs typeface="Arial" pitchFamily="34" charset="0"/>
            </a:endParaRPr>
          </a:p>
        </p:txBody>
      </p:sp>
      <p:sp>
        <p:nvSpPr>
          <p:cNvPr id="6" name="23 Rectángulo"/>
          <p:cNvSpPr/>
          <p:nvPr/>
        </p:nvSpPr>
        <p:spPr>
          <a:xfrm>
            <a:off x="719572" y="2288775"/>
            <a:ext cx="7704856" cy="181588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s-CL" sz="2800" kern="0" dirty="0" smtClean="0">
                <a:solidFill>
                  <a:schemeClr val="bg1">
                    <a:lumMod val="50000"/>
                  </a:schemeClr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Existimos para promover y cooperar en la construcción e institucionalización de una </a:t>
            </a:r>
            <a:r>
              <a:rPr lang="es-CL" sz="2800" kern="0" dirty="0" smtClean="0">
                <a:solidFill>
                  <a:srgbClr val="0070C0"/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cultura de la transparencia en Chile</a:t>
            </a:r>
            <a:r>
              <a:rPr lang="es-CL" sz="2800" kern="0" dirty="0" smtClean="0">
                <a:solidFill>
                  <a:schemeClr val="bg1">
                    <a:lumMod val="50000"/>
                  </a:schemeClr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, garantizando el derecho de acceso a la información pública </a:t>
            </a:r>
          </a:p>
          <a:p>
            <a:pPr algn="r">
              <a:defRPr/>
            </a:pPr>
            <a:r>
              <a:rPr lang="es-CL" sz="2800" kern="0" dirty="0" smtClean="0">
                <a:solidFill>
                  <a:schemeClr val="bg1">
                    <a:lumMod val="50000"/>
                  </a:schemeClr>
                </a:solidFill>
                <a:latin typeface="Agency FB" pitchFamily="34" charset="0"/>
                <a:ea typeface="ＭＳ Ｐゴシック"/>
                <a:cs typeface="Segoe UI" pitchFamily="34" charset="0"/>
              </a:rPr>
              <a:t>de las personas</a:t>
            </a:r>
            <a:endParaRPr lang="es-CL" sz="2800" kern="0" dirty="0">
              <a:solidFill>
                <a:schemeClr val="bg1">
                  <a:lumMod val="50000"/>
                </a:schemeClr>
              </a:solidFill>
              <a:latin typeface="Agency FB" pitchFamily="34" charset="0"/>
              <a:ea typeface="ＭＳ Ｐゴシック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5977848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mcontreras\Desktop\Nuevas imagenes\clientes\clientes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254" y="2067719"/>
            <a:ext cx="9149254" cy="4790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4 Título"/>
          <p:cNvSpPr>
            <a:spLocks noGrp="1"/>
          </p:cNvSpPr>
          <p:nvPr>
            <p:ph type="title"/>
          </p:nvPr>
        </p:nvSpPr>
        <p:spPr>
          <a:xfrm>
            <a:off x="21857" y="0"/>
            <a:ext cx="6926407" cy="1143000"/>
          </a:xfrm>
        </p:spPr>
        <p:txBody>
          <a:bodyPr/>
          <a:lstStyle/>
          <a:p>
            <a:pPr algn="l"/>
            <a:r>
              <a:rPr lang="es-CL" sz="3600" dirty="0" smtClean="0">
                <a:solidFill>
                  <a:srgbClr val="0070C0"/>
                </a:solidFill>
                <a:latin typeface="Berlin Sans FB Demi" pitchFamily="34" charset="0"/>
              </a:rPr>
              <a:t>Cuentas Públicas con sentido</a:t>
            </a:r>
            <a:endParaRPr lang="es-CL" sz="3600" dirty="0">
              <a:solidFill>
                <a:srgbClr val="0070C0"/>
              </a:solidFill>
              <a:latin typeface="Berlin Sans FB Demi" pitchFamily="34" charset="0"/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052736"/>
            <a:ext cx="8229600" cy="1944216"/>
          </a:xfrm>
        </p:spPr>
        <p:txBody>
          <a:bodyPr anchor="ctr"/>
          <a:lstStyle/>
          <a:p>
            <a:pPr marL="0" indent="0" algn="ctr">
              <a:buNone/>
            </a:pPr>
            <a:r>
              <a:rPr lang="es-CL" sz="2800" dirty="0" smtClean="0">
                <a:latin typeface="Berlin Sans FB" pitchFamily="34" charset="0"/>
                <a:cs typeface="Arial" charset="0"/>
              </a:rPr>
              <a:t>El </a:t>
            </a:r>
            <a:r>
              <a:rPr lang="es-CL" sz="2800" dirty="0">
                <a:latin typeface="Berlin Sans FB" pitchFamily="34" charset="0"/>
                <a:cs typeface="Arial" charset="0"/>
              </a:rPr>
              <a:t>Consejo para la Transparencia, como promotor de la instalación de una cultura de la </a:t>
            </a:r>
            <a:r>
              <a:rPr lang="es-CL" sz="2800" dirty="0" smtClean="0">
                <a:latin typeface="Berlin Sans FB" pitchFamily="34" charset="0"/>
                <a:cs typeface="Arial" charset="0"/>
              </a:rPr>
              <a:t>transparencia, </a:t>
            </a:r>
            <a:r>
              <a:rPr lang="es-CL" sz="2800" dirty="0">
                <a:latin typeface="Berlin Sans FB" pitchFamily="34" charset="0"/>
                <a:cs typeface="Arial" charset="0"/>
              </a:rPr>
              <a:t>presenta los resultados de su </a:t>
            </a:r>
            <a:endParaRPr lang="es-CL" sz="2800" dirty="0" smtClean="0">
              <a:latin typeface="Berlin Sans FB" pitchFamily="34" charset="0"/>
              <a:cs typeface="Arial" charset="0"/>
            </a:endParaRPr>
          </a:p>
          <a:p>
            <a:pPr marL="0" indent="0" algn="ctr">
              <a:buNone/>
            </a:pPr>
            <a:r>
              <a:rPr lang="es-CL" sz="2800" dirty="0" smtClean="0">
                <a:latin typeface="Berlin Sans FB" pitchFamily="34" charset="0"/>
                <a:cs typeface="Arial" charset="0"/>
              </a:rPr>
              <a:t>Cuenta </a:t>
            </a:r>
            <a:r>
              <a:rPr lang="es-CL" sz="2800" dirty="0">
                <a:latin typeface="Berlin Sans FB" pitchFamily="34" charset="0"/>
                <a:cs typeface="Arial" charset="0"/>
              </a:rPr>
              <a:t>Pública Participativa.</a:t>
            </a:r>
          </a:p>
        </p:txBody>
      </p:sp>
    </p:spTree>
    <p:extLst>
      <p:ext uri="{BB962C8B-B14F-4D97-AF65-F5344CB8AC3E}">
        <p14:creationId xmlns:p14="http://schemas.microsoft.com/office/powerpoint/2010/main" val="3737665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5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89881515"/>
              </p:ext>
            </p:extLst>
          </p:nvPr>
        </p:nvGraphicFramePr>
        <p:xfrm>
          <a:off x="-4770" y="980728"/>
          <a:ext cx="8999984" cy="57093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" name="3 Título"/>
          <p:cNvSpPr txBox="1">
            <a:spLocks/>
          </p:cNvSpPr>
          <p:nvPr/>
        </p:nvSpPr>
        <p:spPr bwMode="auto">
          <a:xfrm>
            <a:off x="179512" y="116632"/>
            <a:ext cx="6803856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eaLnBrk="1" hangingPunct="1"/>
            <a:r>
              <a:rPr lang="es-CL" sz="3600" b="1" spc="-150" dirty="0" smtClean="0">
                <a:solidFill>
                  <a:srgbClr val="0070C0"/>
                </a:solidFill>
                <a:latin typeface="Berlin Sans FB Demi" pitchFamily="34" charset="0"/>
                <a:ea typeface="+mn-ea"/>
                <a:cs typeface="Segoe UI" pitchFamily="34" charset="0"/>
              </a:rPr>
              <a:t>Participación Ciudadana en el CPLT</a:t>
            </a:r>
            <a:endParaRPr lang="es-CL" sz="3600" b="1" spc="-150" dirty="0">
              <a:solidFill>
                <a:srgbClr val="0070C0"/>
              </a:solidFill>
              <a:latin typeface="Berlin Sans FB Demi" pitchFamily="34" charset="0"/>
              <a:ea typeface="+mn-ea"/>
              <a:cs typeface="Segoe UI" pitchFamily="34" charset="0"/>
            </a:endParaRPr>
          </a:p>
        </p:txBody>
      </p:sp>
      <p:grpSp>
        <p:nvGrpSpPr>
          <p:cNvPr id="5" name="4 Grupo"/>
          <p:cNvGrpSpPr/>
          <p:nvPr/>
        </p:nvGrpSpPr>
        <p:grpSpPr>
          <a:xfrm>
            <a:off x="5555402" y="1923394"/>
            <a:ext cx="1722340" cy="1676142"/>
            <a:chOff x="5558984" y="936103"/>
            <a:chExt cx="1722340" cy="1676142"/>
          </a:xfrm>
        </p:grpSpPr>
        <p:sp>
          <p:nvSpPr>
            <p:cNvPr id="6" name="5 Elipse"/>
            <p:cNvSpPr/>
            <p:nvPr/>
          </p:nvSpPr>
          <p:spPr>
            <a:xfrm>
              <a:off x="5558984" y="936103"/>
              <a:ext cx="1722340" cy="167614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Elipse 4"/>
            <p:cNvSpPr/>
            <p:nvPr/>
          </p:nvSpPr>
          <p:spPr>
            <a:xfrm>
              <a:off x="5811215" y="1181568"/>
              <a:ext cx="1217878" cy="11852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L" sz="1800" b="1" kern="1200" dirty="0" smtClean="0">
                  <a:solidFill>
                    <a:srgbClr val="002060"/>
                  </a:solidFill>
                  <a:latin typeface="Microsoft PhagsPa" pitchFamily="34" charset="0"/>
                </a:rPr>
                <a:t>Consejo de Sociedad Civil</a:t>
              </a:r>
              <a:endParaRPr lang="es-CL" sz="1800" b="1" kern="1200" dirty="0">
                <a:solidFill>
                  <a:srgbClr val="002060"/>
                </a:solidFill>
                <a:latin typeface="Microsoft PhagsP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26824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000" tmFilter="0, 0; .2, .5; .8, .5; 1, 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1000" autoRev="1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://static.squarespace.com/static/530e120fe4b0beb5b8ff8628/531b421ae4b0f6dda98a7c00/532008ede4b094aec2553dfa/1397234456684/icon_6219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39552" y="1772816"/>
            <a:ext cx="3960440" cy="3960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6491064" cy="1143000"/>
          </a:xfrm>
        </p:spPr>
        <p:txBody>
          <a:bodyPr/>
          <a:lstStyle/>
          <a:p>
            <a:pPr algn="l"/>
            <a:r>
              <a:rPr lang="es-CL" sz="3600" dirty="0" smtClean="0">
                <a:solidFill>
                  <a:srgbClr val="0070C0"/>
                </a:solidFill>
                <a:latin typeface="Berlin Sans FB Demi" pitchFamily="34" charset="0"/>
              </a:rPr>
              <a:t>Consejo de Sociedad Civil (COSOC)</a:t>
            </a:r>
            <a:endParaRPr lang="es-CL" sz="3600" dirty="0">
              <a:solidFill>
                <a:srgbClr val="0070C0"/>
              </a:solidFill>
              <a:latin typeface="Berlin Sans FB Demi" pitchFamily="34" charset="0"/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788024" y="1739594"/>
            <a:ext cx="4114800" cy="2668950"/>
          </a:xfrm>
          <a:solidFill>
            <a:schemeClr val="bg1"/>
          </a:solidFill>
        </p:spPr>
        <p:txBody>
          <a:bodyPr/>
          <a:lstStyle/>
          <a:p>
            <a:pPr marL="0" indent="0" algn="ctr">
              <a:buNone/>
            </a:pPr>
            <a:r>
              <a:rPr lang="es-CL" sz="2800" dirty="0">
                <a:latin typeface="Berlin Sans FB" pitchFamily="34" charset="0"/>
                <a:cs typeface="Arial" charset="0"/>
              </a:rPr>
              <a:t>Órgano de carácter consultivo y deliberativo, con </a:t>
            </a:r>
            <a:r>
              <a:rPr lang="es-CL" sz="2800" dirty="0" smtClean="0">
                <a:latin typeface="Berlin Sans FB" pitchFamily="34" charset="0"/>
                <a:cs typeface="Arial" charset="0"/>
              </a:rPr>
              <a:t>representación:</a:t>
            </a:r>
            <a:endParaRPr lang="es-CL" sz="2800" dirty="0">
              <a:latin typeface="Berlin Sans FB" pitchFamily="34" charset="0"/>
              <a:cs typeface="Arial" charset="0"/>
            </a:endParaRPr>
          </a:p>
          <a:p>
            <a:pPr marL="0" indent="0" algn="ctr">
              <a:buNone/>
            </a:pPr>
            <a:r>
              <a:rPr lang="es-CL" sz="2400" b="1" spc="-150" dirty="0" smtClean="0">
                <a:solidFill>
                  <a:schemeClr val="accent4">
                    <a:lumMod val="50000"/>
                  </a:schemeClr>
                </a:solidFill>
                <a:latin typeface="Berlin Sans FB Demi" pitchFamily="34" charset="0"/>
                <a:cs typeface="Segoe UI" pitchFamily="34" charset="0"/>
              </a:rPr>
              <a:t> </a:t>
            </a:r>
            <a:endParaRPr lang="es-CL" sz="2400" b="1" spc="-150" dirty="0">
              <a:solidFill>
                <a:schemeClr val="accent4">
                  <a:lumMod val="50000"/>
                </a:schemeClr>
              </a:solidFill>
              <a:latin typeface="Berlin Sans FB Demi" pitchFamily="34" charset="0"/>
              <a:cs typeface="Segoe UI" pitchFamily="34" charset="0"/>
            </a:endParaRPr>
          </a:p>
          <a:p>
            <a:endParaRPr lang="es-CL" dirty="0"/>
          </a:p>
        </p:txBody>
      </p:sp>
      <p:sp>
        <p:nvSpPr>
          <p:cNvPr id="7" name="6 Rectángulo"/>
          <p:cNvSpPr/>
          <p:nvPr/>
        </p:nvSpPr>
        <p:spPr>
          <a:xfrm>
            <a:off x="4893394" y="3491426"/>
            <a:ext cx="147829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eaLnBrk="0" hangingPunct="0">
              <a:spcBef>
                <a:spcPct val="20000"/>
              </a:spcBef>
            </a:pPr>
            <a:r>
              <a:rPr lang="es-CL" sz="2800" b="1" spc="-150" dirty="0">
                <a:solidFill>
                  <a:srgbClr val="0070C0"/>
                </a:solidFill>
                <a:latin typeface="Berlin Sans FB Demi" pitchFamily="34" charset="0"/>
                <a:cs typeface="Segoe UI" pitchFamily="34" charset="0"/>
              </a:rPr>
              <a:t>DIVERSA</a:t>
            </a:r>
          </a:p>
        </p:txBody>
      </p:sp>
      <p:sp>
        <p:nvSpPr>
          <p:cNvPr id="9" name="8 Rectángulo"/>
          <p:cNvSpPr/>
          <p:nvPr/>
        </p:nvSpPr>
        <p:spPr>
          <a:xfrm>
            <a:off x="5446382" y="4149080"/>
            <a:ext cx="285206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800" b="1" spc="-150" dirty="0">
                <a:solidFill>
                  <a:srgbClr val="0A96BC">
                    <a:lumMod val="50000"/>
                  </a:srgbClr>
                </a:solidFill>
                <a:latin typeface="Berlin Sans FB Demi" pitchFamily="34" charset="0"/>
                <a:cs typeface="Segoe UI" pitchFamily="34" charset="0"/>
              </a:rPr>
              <a:t>REPRESENTATIVA</a:t>
            </a:r>
            <a:endParaRPr lang="es-CL" sz="2000" dirty="0"/>
          </a:p>
        </p:txBody>
      </p:sp>
      <p:sp>
        <p:nvSpPr>
          <p:cNvPr id="10" name="9 Rectángulo"/>
          <p:cNvSpPr/>
          <p:nvPr/>
        </p:nvSpPr>
        <p:spPr>
          <a:xfrm>
            <a:off x="6858697" y="4869160"/>
            <a:ext cx="203613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ctr">
              <a:buNone/>
            </a:pPr>
            <a:r>
              <a:rPr lang="es-CL" sz="2800" b="1" spc="-150" dirty="0">
                <a:solidFill>
                  <a:srgbClr val="00B0F0"/>
                </a:solidFill>
                <a:latin typeface="Berlin Sans FB Demi" pitchFamily="34" charset="0"/>
                <a:cs typeface="Segoe UI" pitchFamily="34" charset="0"/>
              </a:rPr>
              <a:t>PLURALISTA</a:t>
            </a:r>
          </a:p>
        </p:txBody>
      </p:sp>
    </p:spTree>
    <p:extLst>
      <p:ext uri="{BB962C8B-B14F-4D97-AF65-F5344CB8AC3E}">
        <p14:creationId xmlns:p14="http://schemas.microsoft.com/office/powerpoint/2010/main" val="27448850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  <p:bldP spid="1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/>
        </p:nvSpPr>
        <p:spPr>
          <a:xfrm>
            <a:off x="0" y="1173025"/>
            <a:ext cx="9257231" cy="56849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6" name="5 Imagen" descr="posicionar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rcRect l="14962"/>
          <a:stretch>
            <a:fillRect/>
          </a:stretch>
        </p:blipFill>
        <p:spPr>
          <a:xfrm>
            <a:off x="0" y="1627037"/>
            <a:ext cx="6120680" cy="4936359"/>
          </a:xfrm>
          <a:prstGeom prst="rect">
            <a:avLst/>
          </a:prstGeom>
        </p:spPr>
      </p:pic>
      <p:graphicFrame>
        <p:nvGraphicFramePr>
          <p:cNvPr id="7" name="6 Objeto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553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1 Título"/>
          <p:cNvSpPr>
            <a:spLocks noGrp="1"/>
          </p:cNvSpPr>
          <p:nvPr>
            <p:ph type="title"/>
          </p:nvPr>
        </p:nvSpPr>
        <p:spPr>
          <a:xfrm>
            <a:off x="33361" y="30025"/>
            <a:ext cx="6491064" cy="1143000"/>
          </a:xfrm>
        </p:spPr>
        <p:txBody>
          <a:bodyPr>
            <a:normAutofit fontScale="90000"/>
          </a:bodyPr>
          <a:lstStyle/>
          <a:p>
            <a:pPr algn="l"/>
            <a:r>
              <a:rPr lang="es-CL" sz="3600" dirty="0" smtClean="0">
                <a:solidFill>
                  <a:srgbClr val="0070C0"/>
                </a:solidFill>
                <a:latin typeface="Berlin Sans FB Demi" pitchFamily="34" charset="0"/>
              </a:rPr>
              <a:t>La  </a:t>
            </a:r>
            <a:r>
              <a:rPr lang="es-CL" sz="3600" dirty="0">
                <a:solidFill>
                  <a:srgbClr val="0070C0"/>
                </a:solidFill>
                <a:latin typeface="Berlin Sans FB Demi" pitchFamily="34" charset="0"/>
              </a:rPr>
              <a:t>participación ciudadana </a:t>
            </a:r>
            <a:r>
              <a:rPr lang="es-CL" sz="3600" dirty="0" smtClean="0">
                <a:latin typeface="Berlin Sans FB Demi" pitchFamily="34" charset="0"/>
              </a:rPr>
              <a:t>y derecho de acceso a la información</a:t>
            </a:r>
            <a:endParaRPr lang="es-CL" sz="3600" dirty="0">
              <a:solidFill>
                <a:srgbClr val="0070C0"/>
              </a:solidFill>
              <a:latin typeface="Berlin Sans FB Demi" pitchFamily="34" charset="0"/>
            </a:endParaRPr>
          </a:p>
        </p:txBody>
      </p:sp>
      <p:sp>
        <p:nvSpPr>
          <p:cNvPr id="2" name="1 CuadroTexto"/>
          <p:cNvSpPr txBox="1"/>
          <p:nvPr/>
        </p:nvSpPr>
        <p:spPr>
          <a:xfrm>
            <a:off x="5344115" y="1173025"/>
            <a:ext cx="2977097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4400" b="1" spc="-150" dirty="0">
                <a:solidFill>
                  <a:srgbClr val="3366FF"/>
                </a:solidFill>
                <a:latin typeface="Berlin Sans FB Demi" pitchFamily="34" charset="0"/>
                <a:cs typeface="Segoe UI" pitchFamily="34" charset="0"/>
              </a:rPr>
              <a:t>Ciudadanos</a:t>
            </a:r>
          </a:p>
        </p:txBody>
      </p:sp>
      <p:sp>
        <p:nvSpPr>
          <p:cNvPr id="8" name="7 CuadroTexto"/>
          <p:cNvSpPr txBox="1"/>
          <p:nvPr/>
        </p:nvSpPr>
        <p:spPr>
          <a:xfrm>
            <a:off x="4047662" y="1937688"/>
            <a:ext cx="135646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3200" b="1" spc="-150" dirty="0">
                <a:solidFill>
                  <a:srgbClr val="0070C0"/>
                </a:solidFill>
                <a:latin typeface="Berlin Sans FB Demi" pitchFamily="34" charset="0"/>
                <a:cs typeface="Segoe UI" pitchFamily="34" charset="0"/>
              </a:rPr>
              <a:t>Activos</a:t>
            </a:r>
          </a:p>
        </p:txBody>
      </p:sp>
      <p:sp>
        <p:nvSpPr>
          <p:cNvPr id="9" name="8 CuadroTexto"/>
          <p:cNvSpPr txBox="1"/>
          <p:nvPr/>
        </p:nvSpPr>
        <p:spPr>
          <a:xfrm>
            <a:off x="5436096" y="2412028"/>
            <a:ext cx="180850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3200" spc="-150" dirty="0" smtClean="0">
                <a:solidFill>
                  <a:srgbClr val="00B0F0"/>
                </a:solidFill>
                <a:latin typeface="Berlin Sans FB Demi" pitchFamily="34" charset="0"/>
                <a:cs typeface="Segoe UI" pitchFamily="34" charset="0"/>
              </a:rPr>
              <a:t>Partícipes</a:t>
            </a:r>
            <a:endParaRPr lang="es-CL" sz="3200" spc="-150" dirty="0">
              <a:solidFill>
                <a:srgbClr val="00B0F0"/>
              </a:solidFill>
              <a:latin typeface="Berlin Sans FB Demi" pitchFamily="34" charset="0"/>
              <a:cs typeface="Segoe UI" pitchFamily="34" charset="0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6522854" y="2996803"/>
            <a:ext cx="24785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3200" b="1" spc="-15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Berlin Sans FB Demi" pitchFamily="34" charset="0"/>
                <a:cs typeface="Segoe UI" pitchFamily="34" charset="0"/>
              </a:rPr>
              <a:t>Empoderados</a:t>
            </a:r>
            <a:endParaRPr lang="es-CL" sz="3200" b="1" spc="-150" dirty="0">
              <a:solidFill>
                <a:schemeClr val="tx2">
                  <a:lumMod val="60000"/>
                  <a:lumOff val="40000"/>
                </a:schemeClr>
              </a:solidFill>
              <a:latin typeface="Berlin Sans FB Demi" pitchFamily="34" charset="0"/>
              <a:cs typeface="Segoe UI" pitchFamily="34" charset="0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4572000" y="3861048"/>
            <a:ext cx="442941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4400" b="1" spc="-150" dirty="0" smtClean="0">
                <a:solidFill>
                  <a:schemeClr val="accent1">
                    <a:lumMod val="50000"/>
                  </a:schemeClr>
                </a:solidFill>
                <a:latin typeface="Berlin Sans FB Demi" pitchFamily="34" charset="0"/>
                <a:cs typeface="Segoe UI" pitchFamily="34" charset="0"/>
              </a:rPr>
              <a:t>Derecho de Acceso</a:t>
            </a:r>
            <a:endParaRPr lang="es-CL" sz="4400" b="1" spc="-150" dirty="0">
              <a:solidFill>
                <a:schemeClr val="accent1">
                  <a:lumMod val="50000"/>
                </a:schemeClr>
              </a:solidFill>
              <a:latin typeface="Berlin Sans FB Demi" pitchFamily="34" charset="0"/>
              <a:cs typeface="Segoe UI" pitchFamily="34" charset="0"/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4669025" y="4869160"/>
            <a:ext cx="458820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3200" b="1" spc="-150" dirty="0" smtClean="0">
                <a:solidFill>
                  <a:schemeClr val="accent4">
                    <a:lumMod val="75000"/>
                  </a:schemeClr>
                </a:solidFill>
                <a:latin typeface="Berlin Sans FB Demi" pitchFamily="34" charset="0"/>
                <a:cs typeface="Segoe UI" pitchFamily="34" charset="0"/>
              </a:rPr>
              <a:t>Respuesta a necesidades ciudadanas</a:t>
            </a:r>
            <a:endParaRPr lang="es-CL" sz="3200" b="1" spc="-150" dirty="0">
              <a:solidFill>
                <a:schemeClr val="accent4">
                  <a:lumMod val="75000"/>
                </a:schemeClr>
              </a:solidFill>
              <a:latin typeface="Berlin Sans FB Dem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3756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8" grpId="0"/>
      <p:bldP spid="9" grpId="0"/>
      <p:bldP spid="10" grpId="0"/>
      <p:bldP spid="11" grpId="0"/>
      <p:bldP spid="1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2 Imagen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83257" y="332656"/>
            <a:ext cx="9875383" cy="6048672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738929" y="1648832"/>
            <a:ext cx="7632848" cy="22775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s-ES" sz="5400" b="1" spc="-150" dirty="0" smtClean="0">
                <a:solidFill>
                  <a:srgbClr val="0070C0"/>
                </a:solidFill>
                <a:latin typeface="Berlin Sans FB Demi" pitchFamily="34" charset="0"/>
                <a:cs typeface="Segoe UI" pitchFamily="34" charset="0"/>
              </a:rPr>
              <a:t>AVANCES DEL CPLT</a:t>
            </a:r>
            <a:endParaRPr lang="es-ES" sz="5400" b="1" spc="-150" dirty="0" smtClean="0">
              <a:solidFill>
                <a:srgbClr val="00B0F0"/>
              </a:solidFill>
              <a:latin typeface="Berlin Sans FB Demi" pitchFamily="34" charset="0"/>
              <a:cs typeface="Segoe UI" pitchFamily="34" charset="0"/>
            </a:endParaRPr>
          </a:p>
          <a:p>
            <a:pPr algn="ctr" fontAlgn="auto">
              <a:spcAft>
                <a:spcPts val="0"/>
              </a:spcAft>
              <a:defRPr/>
            </a:pPr>
            <a:r>
              <a:rPr lang="es-ES" sz="4400" b="1" spc="-150" dirty="0">
                <a:solidFill>
                  <a:srgbClr val="3366FF"/>
                </a:solidFill>
                <a:latin typeface="Berlin Sans FB Demi" pitchFamily="34" charset="0"/>
                <a:cs typeface="Segoe UI" pitchFamily="34" charset="0"/>
              </a:rPr>
              <a:t>PERÍODO</a:t>
            </a:r>
          </a:p>
          <a:p>
            <a:pPr algn="ctr" fontAlgn="auto">
              <a:spcAft>
                <a:spcPts val="0"/>
              </a:spcAft>
              <a:defRPr/>
            </a:pPr>
            <a:r>
              <a:rPr lang="es-ES" sz="4400" b="1" spc="-150" dirty="0" smtClean="0">
                <a:solidFill>
                  <a:srgbClr val="3366FF"/>
                </a:solidFill>
                <a:latin typeface="Berlin Sans FB Demi" pitchFamily="34" charset="0"/>
                <a:cs typeface="Segoe UI" pitchFamily="34" charset="0"/>
              </a:rPr>
              <a:t>AGOSTO 2015-AGOSTO 2016</a:t>
            </a:r>
            <a:endParaRPr lang="es-CL" sz="4400" b="1" spc="-150" dirty="0">
              <a:solidFill>
                <a:srgbClr val="3366FF"/>
              </a:solidFill>
              <a:latin typeface="Berlin Sans FB Dem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3106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522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1 Título"/>
          <p:cNvSpPr>
            <a:spLocks noGrp="1"/>
          </p:cNvSpPr>
          <p:nvPr>
            <p:ph type="title"/>
          </p:nvPr>
        </p:nvSpPr>
        <p:spPr>
          <a:xfrm>
            <a:off x="174372" y="30025"/>
            <a:ext cx="6491064" cy="1143000"/>
          </a:xfrm>
        </p:spPr>
        <p:txBody>
          <a:bodyPr>
            <a:noAutofit/>
          </a:bodyPr>
          <a:lstStyle/>
          <a:p>
            <a:pPr algn="l"/>
            <a:r>
              <a:rPr lang="es-CL" sz="3600" dirty="0" smtClean="0">
                <a:solidFill>
                  <a:srgbClr val="0070C0"/>
                </a:solidFill>
                <a:latin typeface="Berlin Sans FB Demi" pitchFamily="34" charset="0"/>
              </a:rPr>
              <a:t>Mayor uso del acceso a la información</a:t>
            </a:r>
            <a:endParaRPr lang="es-CL" sz="3600" dirty="0">
              <a:solidFill>
                <a:srgbClr val="0070C0"/>
              </a:solidFill>
              <a:latin typeface="Berlin Sans FB Demi" pitchFamily="34" charset="0"/>
            </a:endParaRPr>
          </a:p>
        </p:txBody>
      </p:sp>
      <p:pic>
        <p:nvPicPr>
          <p:cNvPr id="486404" name="Picture 4" descr="http://extranet.consejotransparencia.cl/web_rsw/Telerik.Web.UI.WebResource.axd?imgid=4cec8495a9224edc93ba40a491a0271d&amp;type=rbi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7904" y="3429000"/>
            <a:ext cx="5162539" cy="288032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chemeClr val="accent6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/>
        </p:spPr>
      </p:pic>
      <p:sp>
        <p:nvSpPr>
          <p:cNvPr id="3" name="2 CuadroTexto"/>
          <p:cNvSpPr txBox="1"/>
          <p:nvPr/>
        </p:nvSpPr>
        <p:spPr>
          <a:xfrm>
            <a:off x="467544" y="1348644"/>
            <a:ext cx="7848872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4800" b="1" spc="-150" dirty="0">
                <a:solidFill>
                  <a:srgbClr val="0070C0"/>
                </a:solidFill>
                <a:latin typeface="Berlin Sans FB Demi" pitchFamily="34" charset="0"/>
                <a:cs typeface="Segoe UI" pitchFamily="34" charset="0"/>
              </a:rPr>
              <a:t>111 mil </a:t>
            </a:r>
            <a:r>
              <a:rPr lang="es-CL" sz="2800" dirty="0">
                <a:latin typeface="Berlin Sans FB" pitchFamily="34" charset="0"/>
              </a:rPr>
              <a:t>solicitudes</a:t>
            </a:r>
            <a:r>
              <a:rPr lang="es-CL" sz="4000" dirty="0" smtClean="0">
                <a:solidFill>
                  <a:srgbClr val="0070C0"/>
                </a:solidFill>
                <a:latin typeface="Berlin Sans FB" pitchFamily="34" charset="0"/>
              </a:rPr>
              <a:t> </a:t>
            </a:r>
            <a:r>
              <a:rPr lang="es-CL" sz="2800" dirty="0" smtClean="0">
                <a:latin typeface="Berlin Sans FB" pitchFamily="34" charset="0"/>
              </a:rPr>
              <a:t>de acceso a la información ingresadas a los órganos de la  Administración Central en el período agosto del 2015 a agosto del 2016.</a:t>
            </a:r>
            <a:endParaRPr lang="es-CL" sz="2800" dirty="0">
              <a:latin typeface="Berlin Sans FB" pitchFamily="34" charset="0"/>
            </a:endParaRPr>
          </a:p>
        </p:txBody>
      </p:sp>
      <p:grpSp>
        <p:nvGrpSpPr>
          <p:cNvPr id="13" name="12 Grupo"/>
          <p:cNvGrpSpPr/>
          <p:nvPr/>
        </p:nvGrpSpPr>
        <p:grpSpPr>
          <a:xfrm>
            <a:off x="935594" y="4163845"/>
            <a:ext cx="1975221" cy="1698661"/>
            <a:chOff x="1331640" y="4422511"/>
            <a:chExt cx="1975221" cy="1698661"/>
          </a:xfrm>
        </p:grpSpPr>
        <p:sp>
          <p:nvSpPr>
            <p:cNvPr id="4" name="3 Rectángulo"/>
            <p:cNvSpPr/>
            <p:nvPr/>
          </p:nvSpPr>
          <p:spPr>
            <a:xfrm>
              <a:off x="1331640" y="5013176"/>
              <a:ext cx="1975221" cy="11079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CL" sz="6600" b="1" spc="-150" dirty="0" smtClean="0">
                  <a:solidFill>
                    <a:schemeClr val="accent6">
                      <a:lumMod val="50000"/>
                    </a:schemeClr>
                  </a:solidFill>
                  <a:latin typeface="Berlin Sans FB Demi" pitchFamily="34" charset="0"/>
                  <a:cs typeface="Segoe UI" pitchFamily="34" charset="0"/>
                </a:rPr>
                <a:t>192%</a:t>
              </a:r>
              <a:endParaRPr lang="es-CL" sz="66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pic>
          <p:nvPicPr>
            <p:cNvPr id="486408" name="Picture 8" descr="Resultado de imagen para flecha crecimiento jp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2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>
              <a:off x="1872601" y="4473116"/>
              <a:ext cx="893297" cy="7920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711299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587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1 Título"/>
          <p:cNvSpPr>
            <a:spLocks noGrp="1"/>
          </p:cNvSpPr>
          <p:nvPr>
            <p:ph type="title"/>
          </p:nvPr>
        </p:nvSpPr>
        <p:spPr>
          <a:xfrm>
            <a:off x="174372" y="30025"/>
            <a:ext cx="6491064" cy="1143000"/>
          </a:xfrm>
        </p:spPr>
        <p:txBody>
          <a:bodyPr>
            <a:noAutofit/>
          </a:bodyPr>
          <a:lstStyle/>
          <a:p>
            <a:pPr algn="l"/>
            <a:r>
              <a:rPr lang="es-CL" sz="3600" dirty="0" smtClean="0">
                <a:solidFill>
                  <a:srgbClr val="0070C0"/>
                </a:solidFill>
                <a:latin typeface="Berlin Sans FB Demi" pitchFamily="34" charset="0"/>
              </a:rPr>
              <a:t>Mayor uso del acceso a la información</a:t>
            </a:r>
            <a:endParaRPr lang="es-CL" sz="3600" dirty="0">
              <a:solidFill>
                <a:srgbClr val="0070C0"/>
              </a:solidFill>
              <a:latin typeface="Berlin Sans FB Demi" pitchFamily="34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372246" y="1412776"/>
            <a:ext cx="3317942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4800" b="1" spc="-150" dirty="0" smtClean="0">
                <a:solidFill>
                  <a:srgbClr val="0070C0"/>
                </a:solidFill>
                <a:latin typeface="Berlin Sans FB Demi" pitchFamily="34" charset="0"/>
                <a:cs typeface="Segoe UI" pitchFamily="34" charset="0"/>
              </a:rPr>
              <a:t>+ 4.500 </a:t>
            </a:r>
            <a:r>
              <a:rPr lang="es-CL" sz="2800" dirty="0" smtClean="0">
                <a:latin typeface="Berlin Sans FB" pitchFamily="34" charset="0"/>
              </a:rPr>
              <a:t>reclamos y amparos ingresados al CPLT</a:t>
            </a:r>
            <a:endParaRPr lang="es-CL" sz="2800" dirty="0">
              <a:latin typeface="Berlin Sans FB" pitchFamily="34" charset="0"/>
            </a:endParaRPr>
          </a:p>
        </p:txBody>
      </p:sp>
      <p:grpSp>
        <p:nvGrpSpPr>
          <p:cNvPr id="13" name="12 Grupo"/>
          <p:cNvGrpSpPr/>
          <p:nvPr/>
        </p:nvGrpSpPr>
        <p:grpSpPr>
          <a:xfrm>
            <a:off x="1043608" y="3978676"/>
            <a:ext cx="1806905" cy="1698661"/>
            <a:chOff x="1331640" y="4422511"/>
            <a:chExt cx="1806905" cy="1698661"/>
          </a:xfrm>
        </p:grpSpPr>
        <p:sp>
          <p:nvSpPr>
            <p:cNvPr id="4" name="3 Rectángulo"/>
            <p:cNvSpPr/>
            <p:nvPr/>
          </p:nvSpPr>
          <p:spPr>
            <a:xfrm>
              <a:off x="1331640" y="5013176"/>
              <a:ext cx="1806905" cy="11079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CL" sz="6600" b="1" spc="-150" dirty="0" smtClean="0">
                  <a:solidFill>
                    <a:schemeClr val="accent6">
                      <a:lumMod val="50000"/>
                    </a:schemeClr>
                  </a:solidFill>
                  <a:latin typeface="Berlin Sans FB Demi" pitchFamily="34" charset="0"/>
                  <a:cs typeface="Segoe UI" pitchFamily="34" charset="0"/>
                </a:rPr>
                <a:t>40%</a:t>
              </a:r>
              <a:endParaRPr lang="es-CL" sz="66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pic>
          <p:nvPicPr>
            <p:cNvPr id="486408" name="Picture 8" descr="Resultado de imagen para flecha crecimiento jp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2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>
              <a:off x="1872601" y="4473116"/>
              <a:ext cx="893297" cy="7920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95898">
            <a:off x="3449339" y="3081153"/>
            <a:ext cx="5451115" cy="297637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chemeClr val="accent6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1890171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KUET7HH0urizkMwQxh3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KUET7HH0urizkMwQxh3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KUET7HH0urizkMwQxh3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KUET7HH0urizkMwQxh3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kM4Rq1kUaMcq0zNGlz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KUET7HH0urizkMwQxh3g"/>
</p:tagLst>
</file>

<file path=ppt/theme/theme1.xml><?xml version="1.0" encoding="utf-8"?>
<a:theme xmlns:a="http://schemas.openxmlformats.org/drawingml/2006/main" name="1_Tema de Office">
  <a:themeElements>
    <a:clrScheme name="cplt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A78BB"/>
      </a:accent1>
      <a:accent2>
        <a:srgbClr val="B8CCE4"/>
      </a:accent2>
      <a:accent3>
        <a:srgbClr val="006871"/>
      </a:accent3>
      <a:accent4>
        <a:srgbClr val="0A96BC"/>
      </a:accent4>
      <a:accent5>
        <a:srgbClr val="17365D"/>
      </a:accent5>
      <a:accent6>
        <a:srgbClr val="DBE5F1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cplt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A78BB"/>
      </a:accent1>
      <a:accent2>
        <a:srgbClr val="B8CCE4"/>
      </a:accent2>
      <a:accent3>
        <a:srgbClr val="006871"/>
      </a:accent3>
      <a:accent4>
        <a:srgbClr val="0A96BC"/>
      </a:accent4>
      <a:accent5>
        <a:srgbClr val="17365D"/>
      </a:accent5>
      <a:accent6>
        <a:srgbClr val="DBE5F1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7_Tema de Office">
  <a:themeElements>
    <a:clrScheme name="cplt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A78BB"/>
      </a:accent1>
      <a:accent2>
        <a:srgbClr val="B8CCE4"/>
      </a:accent2>
      <a:accent3>
        <a:srgbClr val="006871"/>
      </a:accent3>
      <a:accent4>
        <a:srgbClr val="0A96BC"/>
      </a:accent4>
      <a:accent5>
        <a:srgbClr val="17365D"/>
      </a:accent5>
      <a:accent6>
        <a:srgbClr val="DBE5F1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4_Tema de Office">
  <a:themeElements>
    <a:clrScheme name="cplt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A78BB"/>
      </a:accent1>
      <a:accent2>
        <a:srgbClr val="B8CCE4"/>
      </a:accent2>
      <a:accent3>
        <a:srgbClr val="006871"/>
      </a:accent3>
      <a:accent4>
        <a:srgbClr val="0A96BC"/>
      </a:accent4>
      <a:accent5>
        <a:srgbClr val="17365D"/>
      </a:accent5>
      <a:accent6>
        <a:srgbClr val="DBE5F1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9_Tema de Office">
  <a:themeElements>
    <a:clrScheme name="cplt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A78BB"/>
      </a:accent1>
      <a:accent2>
        <a:srgbClr val="B8CCE4"/>
      </a:accent2>
      <a:accent3>
        <a:srgbClr val="006871"/>
      </a:accent3>
      <a:accent4>
        <a:srgbClr val="0A96BC"/>
      </a:accent4>
      <a:accent5>
        <a:srgbClr val="17365D"/>
      </a:accent5>
      <a:accent6>
        <a:srgbClr val="DBE5F1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9_Tema de Office">
  <a:themeElements>
    <a:clrScheme name="cplt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A78BB"/>
      </a:accent1>
      <a:accent2>
        <a:srgbClr val="B8CCE4"/>
      </a:accent2>
      <a:accent3>
        <a:srgbClr val="006871"/>
      </a:accent3>
      <a:accent4>
        <a:srgbClr val="0A96BC"/>
      </a:accent4>
      <a:accent5>
        <a:srgbClr val="17365D"/>
      </a:accent5>
      <a:accent6>
        <a:srgbClr val="DBE5F1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20_Tema de Office">
  <a:themeElements>
    <a:clrScheme name="cplt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A78BB"/>
      </a:accent1>
      <a:accent2>
        <a:srgbClr val="B8CCE4"/>
      </a:accent2>
      <a:accent3>
        <a:srgbClr val="006871"/>
      </a:accent3>
      <a:accent4>
        <a:srgbClr val="0A96BC"/>
      </a:accent4>
      <a:accent5>
        <a:srgbClr val="17365D"/>
      </a:accent5>
      <a:accent6>
        <a:srgbClr val="DBE5F1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3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4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5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6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7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8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9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20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03031DDD6118064B98263A60566A4507" ma:contentTypeVersion="3" ma:contentTypeDescription="Crear nuevo documento." ma:contentTypeScope="" ma:versionID="467a2f96c504e6cb7fe6bf085138f40d">
  <xsd:schema xmlns:xsd="http://www.w3.org/2001/XMLSchema" xmlns:p="http://schemas.microsoft.com/office/2006/metadata/properties" xmlns:ns2="69384813-26b5-4f7f-9051-66798ef5a7ae" targetNamespace="http://schemas.microsoft.com/office/2006/metadata/properties" ma:root="true" ma:fieldsID="6645d7252a20e726ddeed4d1d733a5a4" ns2:_="">
    <xsd:import namespace="69384813-26b5-4f7f-9051-66798ef5a7ae"/>
    <xsd:element name="properties">
      <xsd:complexType>
        <xsd:sequence>
          <xsd:element name="documentManagement">
            <xsd:complexType>
              <xsd:all>
                <xsd:element ref="ns2:Autor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69384813-26b5-4f7f-9051-66798ef5a7ae" elementFormDefault="qualified">
    <xsd:import namespace="http://schemas.microsoft.com/office/2006/documentManagement/types"/>
    <xsd:element name="Autor" ma:index="8" nillable="true" ma:displayName="Autor" ma:internalName="Autor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 ma:readOnly="true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tor xmlns="69384813-26b5-4f7f-9051-66798ef5a7ae">Diapositiva</Autor>
  </documentManagement>
</p:properties>
</file>

<file path=customXml/itemProps1.xml><?xml version="1.0" encoding="utf-8"?>
<ds:datastoreItem xmlns:ds="http://schemas.openxmlformats.org/officeDocument/2006/customXml" ds:itemID="{32730E1C-04CB-46E0-B5FA-688867E6534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384813-26b5-4f7f-9051-66798ef5a7ae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5E685800-0A52-405A-9066-E6C31965FB9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5D510FE-B48D-497D-BE49-4DEBE8267D8B}">
  <ds:schemaRefs>
    <ds:schemaRef ds:uri="http://purl.org/dc/dcmitype/"/>
    <ds:schemaRef ds:uri="http://purl.org/dc/elements/1.1/"/>
    <ds:schemaRef ds:uri="69384813-26b5-4f7f-9051-66798ef5a7ae"/>
    <ds:schemaRef ds:uri="http://purl.org/dc/terms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42</TotalTime>
  <Words>713</Words>
  <Application>Microsoft Office PowerPoint</Application>
  <PresentationFormat>Presentación en pantalla (4:3)</PresentationFormat>
  <Paragraphs>155</Paragraphs>
  <Slides>25</Slides>
  <Notes>13</Notes>
  <HiddenSlides>0</HiddenSlides>
  <MMClips>0</MMClips>
  <ScaleCrop>false</ScaleCrop>
  <HeadingPairs>
    <vt:vector size="6" baseType="variant">
      <vt:variant>
        <vt:lpstr>Tema</vt:lpstr>
      </vt:variant>
      <vt:variant>
        <vt:i4>7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5</vt:i4>
      </vt:variant>
    </vt:vector>
  </HeadingPairs>
  <TitlesOfParts>
    <vt:vector size="33" baseType="lpstr">
      <vt:lpstr>1_Tema de Office</vt:lpstr>
      <vt:lpstr>Tema de Office</vt:lpstr>
      <vt:lpstr>7_Tema de Office</vt:lpstr>
      <vt:lpstr>14_Tema de Office</vt:lpstr>
      <vt:lpstr>9_Tema de Office</vt:lpstr>
      <vt:lpstr>19_Tema de Office</vt:lpstr>
      <vt:lpstr>20_Tema de Office</vt:lpstr>
      <vt:lpstr>think-cell Slide</vt:lpstr>
      <vt:lpstr>Presentación de PowerPoint</vt:lpstr>
      <vt:lpstr>Presentación de PowerPoint</vt:lpstr>
      <vt:lpstr>Cuentas Públicas con sentido</vt:lpstr>
      <vt:lpstr>Presentación de PowerPoint</vt:lpstr>
      <vt:lpstr>Consejo de Sociedad Civil (COSOC)</vt:lpstr>
      <vt:lpstr>La  participación ciudadana y derecho de acceso a la información</vt:lpstr>
      <vt:lpstr>Presentación de PowerPoint</vt:lpstr>
      <vt:lpstr>Mayor uso del acceso a la información</vt:lpstr>
      <vt:lpstr>Mayor uso del acceso a la información</vt:lpstr>
      <vt:lpstr>Mayor uso del Portal del Transparencia</vt:lpstr>
      <vt:lpstr>Mayor uso del Portal del Transparencia</vt:lpstr>
      <vt:lpstr>Presentación de PowerPoint</vt:lpstr>
      <vt:lpstr>Adhesión al  Candidato Transparente</vt:lpstr>
      <vt:lpstr>Presentación de PowerPoint</vt:lpstr>
      <vt:lpstr>Presentación de PowerPoint</vt:lpstr>
      <vt:lpstr>Presentación de PowerPoint</vt:lpstr>
      <vt:lpstr>Observatorios Regionales en Transparenci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</dc:title>
  <dc:creator>kkliwadenko</dc:creator>
  <cp:lastModifiedBy>Marisol Contreras Ramos</cp:lastModifiedBy>
  <cp:revision>421</cp:revision>
  <cp:lastPrinted>2015-04-07T14:42:49Z</cp:lastPrinted>
  <dcterms:created xsi:type="dcterms:W3CDTF">2012-06-18T17:51:53Z</dcterms:created>
  <dcterms:modified xsi:type="dcterms:W3CDTF">2016-09-26T13:0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3031DDD6118064B98263A60566A4507</vt:lpwstr>
  </property>
</Properties>
</file>